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1" r:id="rId5"/>
    <p:sldMasterId id="2147483809" r:id="rId6"/>
  </p:sldMasterIdLst>
  <p:notesMasterIdLst>
    <p:notesMasterId r:id="rId21"/>
  </p:notesMasterIdLst>
  <p:sldIdLst>
    <p:sldId id="341" r:id="rId7"/>
    <p:sldId id="945" r:id="rId8"/>
    <p:sldId id="985" r:id="rId9"/>
    <p:sldId id="257" r:id="rId10"/>
    <p:sldId id="972" r:id="rId11"/>
    <p:sldId id="973" r:id="rId12"/>
    <p:sldId id="974" r:id="rId13"/>
    <p:sldId id="975" r:id="rId14"/>
    <p:sldId id="977" r:id="rId15"/>
    <p:sldId id="986" r:id="rId16"/>
    <p:sldId id="987" r:id="rId17"/>
    <p:sldId id="988" r:id="rId18"/>
    <p:sldId id="989" r:id="rId19"/>
    <p:sldId id="71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BC2155E2-0CA9-4621-B47B-200DA35081BE}">
          <p14:sldIdLst>
            <p14:sldId id="341"/>
            <p14:sldId id="945"/>
            <p14:sldId id="985"/>
            <p14:sldId id="257"/>
            <p14:sldId id="972"/>
            <p14:sldId id="973"/>
            <p14:sldId id="974"/>
            <p14:sldId id="975"/>
            <p14:sldId id="977"/>
            <p14:sldId id="986"/>
            <p14:sldId id="987"/>
            <p14:sldId id="988"/>
            <p14:sldId id="989"/>
            <p14:sldId id="71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9D9BBD-4BFB-49C9-9209-0BD208679427}" v="6" dt="2025-11-11T09:36:53.7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6327"/>
  </p:normalViewPr>
  <p:slideViewPr>
    <p:cSldViewPr snapToGrid="0" snapToObjects="1">
      <p:cViewPr varScale="1">
        <p:scale>
          <a:sx n="63" d="100"/>
          <a:sy n="63" d="100"/>
        </p:scale>
        <p:origin x="540" y="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gnarelli, Alessio" userId="7630aed0-756e-42de-813a-0c9638cc0479" providerId="ADAL" clId="{A66496D5-9BA6-4EEB-9B69-0C583C664D08}"/>
    <pc:docChg chg="undo redo custSel addSld delSld modSld sldOrd delMainMaster modSection">
      <pc:chgData name="Vagnarelli, Alessio" userId="7630aed0-756e-42de-813a-0c9638cc0479" providerId="ADAL" clId="{A66496D5-9BA6-4EEB-9B69-0C583C664D08}" dt="2025-04-14T08:35:18.627" v="4750" actId="1076"/>
      <pc:docMkLst>
        <pc:docMk/>
      </pc:docMkLst>
      <pc:sldChg chg="del">
        <pc:chgData name="Vagnarelli, Alessio" userId="7630aed0-756e-42de-813a-0c9638cc0479" providerId="ADAL" clId="{A66496D5-9BA6-4EEB-9B69-0C583C664D08}" dt="2025-04-11T09:17:44.217" v="41" actId="47"/>
        <pc:sldMkLst>
          <pc:docMk/>
          <pc:sldMk cId="2338008872" sldId="263"/>
        </pc:sldMkLst>
      </pc:sldChg>
      <pc:sldChg chg="modSp mod">
        <pc:chgData name="Vagnarelli, Alessio" userId="7630aed0-756e-42de-813a-0c9638cc0479" providerId="ADAL" clId="{A66496D5-9BA6-4EEB-9B69-0C583C664D08}" dt="2025-04-11T09:17:24.291" v="24" actId="20577"/>
        <pc:sldMkLst>
          <pc:docMk/>
          <pc:sldMk cId="861957290" sldId="341"/>
        </pc:sldMkLst>
        <pc:spChg chg="mod">
          <ac:chgData name="Vagnarelli, Alessio" userId="7630aed0-756e-42de-813a-0c9638cc0479" providerId="ADAL" clId="{A66496D5-9BA6-4EEB-9B69-0C583C664D08}" dt="2025-04-11T09:17:24.291" v="24" actId="20577"/>
          <ac:spMkLst>
            <pc:docMk/>
            <pc:sldMk cId="861957290" sldId="341"/>
            <ac:spMk id="13" creationId="{DE5B9CEA-5E73-4E22-8C75-E8D43059FFC7}"/>
          </ac:spMkLst>
        </pc:spChg>
      </pc:sldChg>
      <pc:sldChg chg="del">
        <pc:chgData name="Vagnarelli, Alessio" userId="7630aed0-756e-42de-813a-0c9638cc0479" providerId="ADAL" clId="{A66496D5-9BA6-4EEB-9B69-0C583C664D08}" dt="2025-04-11T09:17:45.976" v="44" actId="47"/>
        <pc:sldMkLst>
          <pc:docMk/>
          <pc:sldMk cId="2467030945" sldId="469"/>
        </pc:sldMkLst>
      </pc:sldChg>
      <pc:sldChg chg="del">
        <pc:chgData name="Vagnarelli, Alessio" userId="7630aed0-756e-42de-813a-0c9638cc0479" providerId="ADAL" clId="{A66496D5-9BA6-4EEB-9B69-0C583C664D08}" dt="2025-04-11T09:17:45.478" v="43" actId="47"/>
        <pc:sldMkLst>
          <pc:docMk/>
          <pc:sldMk cId="1049286935" sldId="485"/>
        </pc:sldMkLst>
      </pc:sldChg>
      <pc:sldChg chg="del">
        <pc:chgData name="Vagnarelli, Alessio" userId="7630aed0-756e-42de-813a-0c9638cc0479" providerId="ADAL" clId="{A66496D5-9BA6-4EEB-9B69-0C583C664D08}" dt="2025-04-11T09:17:43.564" v="40" actId="47"/>
        <pc:sldMkLst>
          <pc:docMk/>
          <pc:sldMk cId="803586769" sldId="886"/>
        </pc:sldMkLst>
      </pc:sldChg>
      <pc:sldChg chg="del">
        <pc:chgData name="Vagnarelli, Alessio" userId="7630aed0-756e-42de-813a-0c9638cc0479" providerId="ADAL" clId="{A66496D5-9BA6-4EEB-9B69-0C583C664D08}" dt="2025-04-11T09:17:44.963" v="42" actId="47"/>
        <pc:sldMkLst>
          <pc:docMk/>
          <pc:sldMk cId="2173822530" sldId="887"/>
        </pc:sldMkLst>
      </pc:sldChg>
      <pc:sldChg chg="del">
        <pc:chgData name="Vagnarelli, Alessio" userId="7630aed0-756e-42de-813a-0c9638cc0479" providerId="ADAL" clId="{A66496D5-9BA6-4EEB-9B69-0C583C664D08}" dt="2025-04-11T09:17:30.934" v="26" actId="47"/>
        <pc:sldMkLst>
          <pc:docMk/>
          <pc:sldMk cId="1565800978" sldId="889"/>
        </pc:sldMkLst>
      </pc:sldChg>
      <pc:sldChg chg="del">
        <pc:chgData name="Vagnarelli, Alessio" userId="7630aed0-756e-42de-813a-0c9638cc0479" providerId="ADAL" clId="{A66496D5-9BA6-4EEB-9B69-0C583C664D08}" dt="2025-04-11T09:17:28.496" v="25" actId="47"/>
        <pc:sldMkLst>
          <pc:docMk/>
          <pc:sldMk cId="4268658265" sldId="891"/>
        </pc:sldMkLst>
      </pc:sldChg>
      <pc:sldChg chg="del">
        <pc:chgData name="Vagnarelli, Alessio" userId="7630aed0-756e-42de-813a-0c9638cc0479" providerId="ADAL" clId="{A66496D5-9BA6-4EEB-9B69-0C583C664D08}" dt="2025-04-11T09:17:32.276" v="28" actId="47"/>
        <pc:sldMkLst>
          <pc:docMk/>
          <pc:sldMk cId="3156422888" sldId="892"/>
        </pc:sldMkLst>
      </pc:sldChg>
      <pc:sldChg chg="del">
        <pc:chgData name="Vagnarelli, Alessio" userId="7630aed0-756e-42de-813a-0c9638cc0479" providerId="ADAL" clId="{A66496D5-9BA6-4EEB-9B69-0C583C664D08}" dt="2025-04-11T09:17:33.618" v="29" actId="47"/>
        <pc:sldMkLst>
          <pc:docMk/>
          <pc:sldMk cId="1708923643" sldId="893"/>
        </pc:sldMkLst>
      </pc:sldChg>
      <pc:sldChg chg="del">
        <pc:chgData name="Vagnarelli, Alessio" userId="7630aed0-756e-42de-813a-0c9638cc0479" providerId="ADAL" clId="{A66496D5-9BA6-4EEB-9B69-0C583C664D08}" dt="2025-04-11T09:17:34.515" v="30" actId="47"/>
        <pc:sldMkLst>
          <pc:docMk/>
          <pc:sldMk cId="2856221848" sldId="894"/>
        </pc:sldMkLst>
      </pc:sldChg>
      <pc:sldChg chg="del">
        <pc:chgData name="Vagnarelli, Alessio" userId="7630aed0-756e-42de-813a-0c9638cc0479" providerId="ADAL" clId="{A66496D5-9BA6-4EEB-9B69-0C583C664D08}" dt="2025-04-11T09:17:31.642" v="27" actId="47"/>
        <pc:sldMkLst>
          <pc:docMk/>
          <pc:sldMk cId="365164194" sldId="895"/>
        </pc:sldMkLst>
      </pc:sldChg>
      <pc:sldChg chg="del">
        <pc:chgData name="Vagnarelli, Alessio" userId="7630aed0-756e-42de-813a-0c9638cc0479" providerId="ADAL" clId="{A66496D5-9BA6-4EEB-9B69-0C583C664D08}" dt="2025-04-11T09:17:35.802" v="32" actId="47"/>
        <pc:sldMkLst>
          <pc:docMk/>
          <pc:sldMk cId="3359644238" sldId="896"/>
        </pc:sldMkLst>
      </pc:sldChg>
      <pc:sldChg chg="del">
        <pc:chgData name="Vagnarelli, Alessio" userId="7630aed0-756e-42de-813a-0c9638cc0479" providerId="ADAL" clId="{A66496D5-9BA6-4EEB-9B69-0C583C664D08}" dt="2025-04-11T09:17:35.177" v="31" actId="47"/>
        <pc:sldMkLst>
          <pc:docMk/>
          <pc:sldMk cId="3126564207" sldId="897"/>
        </pc:sldMkLst>
      </pc:sldChg>
      <pc:sldChg chg="del">
        <pc:chgData name="Vagnarelli, Alessio" userId="7630aed0-756e-42de-813a-0c9638cc0479" providerId="ADAL" clId="{A66496D5-9BA6-4EEB-9B69-0C583C664D08}" dt="2025-04-11T09:17:36.710" v="33" actId="47"/>
        <pc:sldMkLst>
          <pc:docMk/>
          <pc:sldMk cId="3701640564" sldId="898"/>
        </pc:sldMkLst>
      </pc:sldChg>
      <pc:sldChg chg="del">
        <pc:chgData name="Vagnarelli, Alessio" userId="7630aed0-756e-42de-813a-0c9638cc0479" providerId="ADAL" clId="{A66496D5-9BA6-4EEB-9B69-0C583C664D08}" dt="2025-04-11T09:17:38.861" v="35" actId="47"/>
        <pc:sldMkLst>
          <pc:docMk/>
          <pc:sldMk cId="3579948103" sldId="899"/>
        </pc:sldMkLst>
      </pc:sldChg>
      <pc:sldChg chg="del">
        <pc:chgData name="Vagnarelli, Alessio" userId="7630aed0-756e-42de-813a-0c9638cc0479" providerId="ADAL" clId="{A66496D5-9BA6-4EEB-9B69-0C583C664D08}" dt="2025-04-11T09:17:37.709" v="34" actId="47"/>
        <pc:sldMkLst>
          <pc:docMk/>
          <pc:sldMk cId="3745674210" sldId="900"/>
        </pc:sldMkLst>
      </pc:sldChg>
      <pc:sldChg chg="del">
        <pc:chgData name="Vagnarelli, Alessio" userId="7630aed0-756e-42de-813a-0c9638cc0479" providerId="ADAL" clId="{A66496D5-9BA6-4EEB-9B69-0C583C664D08}" dt="2025-04-11T09:17:40.233" v="36" actId="47"/>
        <pc:sldMkLst>
          <pc:docMk/>
          <pc:sldMk cId="494266302" sldId="901"/>
        </pc:sldMkLst>
      </pc:sldChg>
      <pc:sldChg chg="del">
        <pc:chgData name="Vagnarelli, Alessio" userId="7630aed0-756e-42de-813a-0c9638cc0479" providerId="ADAL" clId="{A66496D5-9BA6-4EEB-9B69-0C583C664D08}" dt="2025-04-11T09:17:40.497" v="37" actId="47"/>
        <pc:sldMkLst>
          <pc:docMk/>
          <pc:sldMk cId="3499897702" sldId="902"/>
        </pc:sldMkLst>
      </pc:sldChg>
      <pc:sldChg chg="del">
        <pc:chgData name="Vagnarelli, Alessio" userId="7630aed0-756e-42de-813a-0c9638cc0479" providerId="ADAL" clId="{A66496D5-9BA6-4EEB-9B69-0C583C664D08}" dt="2025-04-11T09:17:40.677" v="38" actId="47"/>
        <pc:sldMkLst>
          <pc:docMk/>
          <pc:sldMk cId="4227078457" sldId="903"/>
        </pc:sldMkLst>
      </pc:sldChg>
      <pc:sldChg chg="modSp mod ord">
        <pc:chgData name="Vagnarelli, Alessio" userId="7630aed0-756e-42de-813a-0c9638cc0479" providerId="ADAL" clId="{A66496D5-9BA6-4EEB-9B69-0C583C664D08}" dt="2025-04-11T09:23:26.023" v="65"/>
        <pc:sldMkLst>
          <pc:docMk/>
          <pc:sldMk cId="600344921" sldId="904"/>
        </pc:sldMkLst>
        <pc:spChg chg="mod">
          <ac:chgData name="Vagnarelli, Alessio" userId="7630aed0-756e-42de-813a-0c9638cc0479" providerId="ADAL" clId="{A66496D5-9BA6-4EEB-9B69-0C583C664D08}" dt="2025-04-11T09:20:35.963" v="63" actId="6549"/>
          <ac:spMkLst>
            <pc:docMk/>
            <pc:sldMk cId="600344921" sldId="904"/>
            <ac:spMk id="2" creationId="{1A53A8AD-38C0-4854-81B3-9B99B4E007ED}"/>
          </ac:spMkLst>
        </pc:spChg>
      </pc:sldChg>
      <pc:sldChg chg="del ord">
        <pc:chgData name="Vagnarelli, Alessio" userId="7630aed0-756e-42de-813a-0c9638cc0479" providerId="ADAL" clId="{A66496D5-9BA6-4EEB-9B69-0C583C664D08}" dt="2025-04-11T18:53:48.844" v="4111" actId="47"/>
        <pc:sldMkLst>
          <pc:docMk/>
          <pc:sldMk cId="3092059580" sldId="907"/>
        </pc:sldMkLst>
      </pc:sldChg>
      <pc:sldChg chg="del ord">
        <pc:chgData name="Vagnarelli, Alessio" userId="7630aed0-756e-42de-813a-0c9638cc0479" providerId="ADAL" clId="{A66496D5-9BA6-4EEB-9B69-0C583C664D08}" dt="2025-04-11T18:54:04.141" v="4112" actId="47"/>
        <pc:sldMkLst>
          <pc:docMk/>
          <pc:sldMk cId="2000241971" sldId="908"/>
        </pc:sldMkLst>
      </pc:sldChg>
      <pc:sldChg chg="addSp delSp modSp mod ord delAnim modAnim">
        <pc:chgData name="Vagnarelli, Alessio" userId="7630aed0-756e-42de-813a-0c9638cc0479" providerId="ADAL" clId="{A66496D5-9BA6-4EEB-9B69-0C583C664D08}" dt="2025-04-14T08:35:18.627" v="4750" actId="1076"/>
        <pc:sldMkLst>
          <pc:docMk/>
          <pc:sldMk cId="524468396" sldId="909"/>
        </pc:sldMkLst>
        <pc:spChg chg="add mod">
          <ac:chgData name="Vagnarelli, Alessio" userId="7630aed0-756e-42de-813a-0c9638cc0479" providerId="ADAL" clId="{A66496D5-9BA6-4EEB-9B69-0C583C664D08}" dt="2025-04-14T08:35:18.627" v="4750" actId="1076"/>
          <ac:spMkLst>
            <pc:docMk/>
            <pc:sldMk cId="524468396" sldId="909"/>
            <ac:spMk id="2" creationId="{AFCABA23-0A12-B9C6-05DB-345215216892}"/>
          </ac:spMkLst>
        </pc:spChg>
        <pc:spChg chg="mod">
          <ac:chgData name="Vagnarelli, Alessio" userId="7630aed0-756e-42de-813a-0c9638cc0479" providerId="ADAL" clId="{A66496D5-9BA6-4EEB-9B69-0C583C664D08}" dt="2025-04-11T18:25:11.133" v="3112" actId="20577"/>
          <ac:spMkLst>
            <pc:docMk/>
            <pc:sldMk cId="524468396" sldId="909"/>
            <ac:spMk id="5" creationId="{9EBB666A-D6FD-85CA-5426-A578F68FDA0E}"/>
          </ac:spMkLst>
        </pc:spChg>
        <pc:spChg chg="mod">
          <ac:chgData name="Vagnarelli, Alessio" userId="7630aed0-756e-42de-813a-0c9638cc0479" providerId="ADAL" clId="{A66496D5-9BA6-4EEB-9B69-0C583C664D08}" dt="2025-04-14T08:35:14.831" v="4749" actId="6549"/>
          <ac:spMkLst>
            <pc:docMk/>
            <pc:sldMk cId="524468396" sldId="909"/>
            <ac:spMk id="6" creationId="{9ABAE42A-9DCD-C432-7122-8AE45783B5E1}"/>
          </ac:spMkLst>
        </pc:spChg>
        <pc:picChg chg="del">
          <ac:chgData name="Vagnarelli, Alessio" userId="7630aed0-756e-42de-813a-0c9638cc0479" providerId="ADAL" clId="{A66496D5-9BA6-4EEB-9B69-0C583C664D08}" dt="2025-04-11T09:32:45.760" v="89" actId="21"/>
          <ac:picMkLst>
            <pc:docMk/>
            <pc:sldMk cId="524468396" sldId="909"/>
            <ac:picMk id="12" creationId="{C2EB557A-6F1E-4C78-73ED-E09CF18F4037}"/>
          </ac:picMkLst>
        </pc:picChg>
      </pc:sldChg>
      <pc:sldChg chg="del">
        <pc:chgData name="Vagnarelli, Alessio" userId="7630aed0-756e-42de-813a-0c9638cc0479" providerId="ADAL" clId="{A66496D5-9BA6-4EEB-9B69-0C583C664D08}" dt="2025-04-11T09:17:42.214" v="39" actId="47"/>
        <pc:sldMkLst>
          <pc:docMk/>
          <pc:sldMk cId="2828456716" sldId="911"/>
        </pc:sldMkLst>
      </pc:sldChg>
      <pc:sldChg chg="modSp mod ord">
        <pc:chgData name="Vagnarelli, Alessio" userId="7630aed0-756e-42de-813a-0c9638cc0479" providerId="ADAL" clId="{A66496D5-9BA6-4EEB-9B69-0C583C664D08}" dt="2025-04-11T09:23:34.205" v="69"/>
        <pc:sldMkLst>
          <pc:docMk/>
          <pc:sldMk cId="2241761266" sldId="912"/>
        </pc:sldMkLst>
        <pc:spChg chg="mod">
          <ac:chgData name="Vagnarelli, Alessio" userId="7630aed0-756e-42de-813a-0c9638cc0479" providerId="ADAL" clId="{A66496D5-9BA6-4EEB-9B69-0C583C664D08}" dt="2025-04-11T09:20:30.898" v="62" actId="20577"/>
          <ac:spMkLst>
            <pc:docMk/>
            <pc:sldMk cId="2241761266" sldId="912"/>
            <ac:spMk id="2" creationId="{1A53A8AD-38C0-4854-81B3-9B99B4E007ED}"/>
          </ac:spMkLst>
        </pc:spChg>
      </pc:sldChg>
      <pc:sldChg chg="del">
        <pc:chgData name="Vagnarelli, Alessio" userId="7630aed0-756e-42de-813a-0c9638cc0479" providerId="ADAL" clId="{A66496D5-9BA6-4EEB-9B69-0C583C664D08}" dt="2025-04-11T09:17:57.770" v="45" actId="47"/>
        <pc:sldMkLst>
          <pc:docMk/>
          <pc:sldMk cId="3266675215" sldId="913"/>
        </pc:sldMkLst>
      </pc:sldChg>
      <pc:sldChg chg="del">
        <pc:chgData name="Vagnarelli, Alessio" userId="7630aed0-756e-42de-813a-0c9638cc0479" providerId="ADAL" clId="{A66496D5-9BA6-4EEB-9B69-0C583C664D08}" dt="2025-04-11T09:18:02.147" v="47" actId="47"/>
        <pc:sldMkLst>
          <pc:docMk/>
          <pc:sldMk cId="4017835024" sldId="915"/>
        </pc:sldMkLst>
      </pc:sldChg>
      <pc:sldChg chg="del">
        <pc:chgData name="Vagnarelli, Alessio" userId="7630aed0-756e-42de-813a-0c9638cc0479" providerId="ADAL" clId="{A66496D5-9BA6-4EEB-9B69-0C583C664D08}" dt="2025-04-11T09:18:00.607" v="46" actId="47"/>
        <pc:sldMkLst>
          <pc:docMk/>
          <pc:sldMk cId="560088286" sldId="916"/>
        </pc:sldMkLst>
      </pc:sldChg>
      <pc:sldChg chg="del">
        <pc:chgData name="Vagnarelli, Alessio" userId="7630aed0-756e-42de-813a-0c9638cc0479" providerId="ADAL" clId="{A66496D5-9BA6-4EEB-9B69-0C583C664D08}" dt="2025-04-11T09:18:04.746" v="48" actId="47"/>
        <pc:sldMkLst>
          <pc:docMk/>
          <pc:sldMk cId="3661420669" sldId="917"/>
        </pc:sldMkLst>
      </pc:sldChg>
      <pc:sldChg chg="del">
        <pc:chgData name="Vagnarelli, Alessio" userId="7630aed0-756e-42de-813a-0c9638cc0479" providerId="ADAL" clId="{A66496D5-9BA6-4EEB-9B69-0C583C664D08}" dt="2025-04-11T09:18:07.049" v="49" actId="47"/>
        <pc:sldMkLst>
          <pc:docMk/>
          <pc:sldMk cId="3954893419" sldId="919"/>
        </pc:sldMkLst>
      </pc:sldChg>
      <pc:sldChg chg="del">
        <pc:chgData name="Vagnarelli, Alessio" userId="7630aed0-756e-42de-813a-0c9638cc0479" providerId="ADAL" clId="{A66496D5-9BA6-4EEB-9B69-0C583C664D08}" dt="2025-04-11T09:18:13.934" v="50" actId="47"/>
        <pc:sldMkLst>
          <pc:docMk/>
          <pc:sldMk cId="3251983433" sldId="920"/>
        </pc:sldMkLst>
      </pc:sldChg>
      <pc:sldChg chg="delSp modSp del mod ord delAnim">
        <pc:chgData name="Vagnarelli, Alessio" userId="7630aed0-756e-42de-813a-0c9638cc0479" providerId="ADAL" clId="{A66496D5-9BA6-4EEB-9B69-0C583C664D08}" dt="2025-04-11T09:51:25.396" v="142" actId="47"/>
        <pc:sldMkLst>
          <pc:docMk/>
          <pc:sldMk cId="5478708" sldId="921"/>
        </pc:sldMkLst>
        <pc:spChg chg="mod">
          <ac:chgData name="Vagnarelli, Alessio" userId="7630aed0-756e-42de-813a-0c9638cc0479" providerId="ADAL" clId="{A66496D5-9BA6-4EEB-9B69-0C583C664D08}" dt="2025-04-11T09:50:57.048" v="139" actId="6549"/>
          <ac:spMkLst>
            <pc:docMk/>
            <pc:sldMk cId="5478708" sldId="921"/>
            <ac:spMk id="6" creationId="{9ABAE42A-9DCD-C432-7122-8AE45783B5E1}"/>
          </ac:spMkLst>
        </pc:spChg>
        <pc:spChg chg="del">
          <ac:chgData name="Vagnarelli, Alessio" userId="7630aed0-756e-42de-813a-0c9638cc0479" providerId="ADAL" clId="{A66496D5-9BA6-4EEB-9B69-0C583C664D08}" dt="2025-04-11T09:48:28.374" v="122" actId="21"/>
          <ac:spMkLst>
            <pc:docMk/>
            <pc:sldMk cId="5478708" sldId="921"/>
            <ac:spMk id="8" creationId="{D236D298-B09D-B9AE-BD90-86FE60B29928}"/>
          </ac:spMkLst>
        </pc:spChg>
      </pc:sldChg>
      <pc:sldChg chg="del">
        <pc:chgData name="Vagnarelli, Alessio" userId="7630aed0-756e-42de-813a-0c9638cc0479" providerId="ADAL" clId="{A66496D5-9BA6-4EEB-9B69-0C583C664D08}" dt="2025-04-11T09:18:16.446" v="51" actId="47"/>
        <pc:sldMkLst>
          <pc:docMk/>
          <pc:sldMk cId="2171320839" sldId="922"/>
        </pc:sldMkLst>
      </pc:sldChg>
      <pc:sldChg chg="del">
        <pc:chgData name="Vagnarelli, Alessio" userId="7630aed0-756e-42de-813a-0c9638cc0479" providerId="ADAL" clId="{A66496D5-9BA6-4EEB-9B69-0C583C664D08}" dt="2025-04-11T09:18:19.843" v="52" actId="47"/>
        <pc:sldMkLst>
          <pc:docMk/>
          <pc:sldMk cId="547440148" sldId="923"/>
        </pc:sldMkLst>
      </pc:sldChg>
      <pc:sldChg chg="del">
        <pc:chgData name="Vagnarelli, Alessio" userId="7630aed0-756e-42de-813a-0c9638cc0479" providerId="ADAL" clId="{A66496D5-9BA6-4EEB-9B69-0C583C664D08}" dt="2025-04-11T09:18:24.368" v="54" actId="47"/>
        <pc:sldMkLst>
          <pc:docMk/>
          <pc:sldMk cId="2703241646" sldId="924"/>
        </pc:sldMkLst>
      </pc:sldChg>
      <pc:sldChg chg="del">
        <pc:chgData name="Vagnarelli, Alessio" userId="7630aed0-756e-42de-813a-0c9638cc0479" providerId="ADAL" clId="{A66496D5-9BA6-4EEB-9B69-0C583C664D08}" dt="2025-04-11T09:18:21.953" v="53" actId="47"/>
        <pc:sldMkLst>
          <pc:docMk/>
          <pc:sldMk cId="215027628" sldId="925"/>
        </pc:sldMkLst>
      </pc:sldChg>
      <pc:sldChg chg="del">
        <pc:chgData name="Vagnarelli, Alessio" userId="7630aed0-756e-42de-813a-0c9638cc0479" providerId="ADAL" clId="{A66496D5-9BA6-4EEB-9B69-0C583C664D08}" dt="2025-04-11T09:18:27.425" v="55" actId="47"/>
        <pc:sldMkLst>
          <pc:docMk/>
          <pc:sldMk cId="2389471904" sldId="926"/>
        </pc:sldMkLst>
      </pc:sldChg>
      <pc:sldChg chg="modSp mod modAnim">
        <pc:chgData name="Vagnarelli, Alessio" userId="7630aed0-756e-42de-813a-0c9638cc0479" providerId="ADAL" clId="{A66496D5-9BA6-4EEB-9B69-0C583C664D08}" dt="2025-04-13T15:13:47.019" v="4468"/>
        <pc:sldMkLst>
          <pc:docMk/>
          <pc:sldMk cId="4125824611" sldId="927"/>
        </pc:sldMkLst>
        <pc:spChg chg="mod">
          <ac:chgData name="Vagnarelli, Alessio" userId="7630aed0-756e-42de-813a-0c9638cc0479" providerId="ADAL" clId="{A66496D5-9BA6-4EEB-9B69-0C583C664D08}" dt="2025-04-11T09:27:39.318" v="79" actId="6549"/>
          <ac:spMkLst>
            <pc:docMk/>
            <pc:sldMk cId="4125824611" sldId="927"/>
            <ac:spMk id="3" creationId="{CBBF28A7-5754-858D-817A-44E2FA603204}"/>
          </ac:spMkLst>
        </pc:spChg>
        <pc:spChg chg="mod">
          <ac:chgData name="Vagnarelli, Alessio" userId="7630aed0-756e-42de-813a-0c9638cc0479" providerId="ADAL" clId="{A66496D5-9BA6-4EEB-9B69-0C583C664D08}" dt="2025-04-11T09:26:25.598" v="76" actId="6549"/>
          <ac:spMkLst>
            <pc:docMk/>
            <pc:sldMk cId="4125824611" sldId="927"/>
            <ac:spMk id="5" creationId="{9EBB666A-D6FD-85CA-5426-A578F68FDA0E}"/>
          </ac:spMkLst>
        </pc:spChg>
      </pc:sldChg>
      <pc:sldChg chg="modSp add del mod">
        <pc:chgData name="Vagnarelli, Alessio" userId="7630aed0-756e-42de-813a-0c9638cc0479" providerId="ADAL" clId="{A66496D5-9BA6-4EEB-9B69-0C583C664D08}" dt="2025-04-11T18:49:03.815" v="4089" actId="47"/>
        <pc:sldMkLst>
          <pc:docMk/>
          <pc:sldMk cId="120321491" sldId="928"/>
        </pc:sldMkLst>
        <pc:spChg chg="mod">
          <ac:chgData name="Vagnarelli, Alessio" userId="7630aed0-756e-42de-813a-0c9638cc0479" providerId="ADAL" clId="{A66496D5-9BA6-4EEB-9B69-0C583C664D08}" dt="2025-04-11T18:33:13.161" v="3242" actId="20577"/>
          <ac:spMkLst>
            <pc:docMk/>
            <pc:sldMk cId="120321491" sldId="928"/>
            <ac:spMk id="6" creationId="{9ABAE42A-9DCD-C432-7122-8AE45783B5E1}"/>
          </ac:spMkLst>
        </pc:spChg>
      </pc:sldChg>
      <pc:sldChg chg="modSp add del mod ord">
        <pc:chgData name="Vagnarelli, Alessio" userId="7630aed0-756e-42de-813a-0c9638cc0479" providerId="ADAL" clId="{A66496D5-9BA6-4EEB-9B69-0C583C664D08}" dt="2025-04-11T18:48:53.014" v="4088" actId="47"/>
        <pc:sldMkLst>
          <pc:docMk/>
          <pc:sldMk cId="655637895" sldId="929"/>
        </pc:sldMkLst>
        <pc:spChg chg="mod">
          <ac:chgData name="Vagnarelli, Alessio" userId="7630aed0-756e-42de-813a-0c9638cc0479" providerId="ADAL" clId="{A66496D5-9BA6-4EEB-9B69-0C583C664D08}" dt="2025-04-11T18:47:33.642" v="4062" actId="14100"/>
          <ac:spMkLst>
            <pc:docMk/>
            <pc:sldMk cId="655637895" sldId="929"/>
            <ac:spMk id="5" creationId="{9EBB666A-D6FD-85CA-5426-A578F68FDA0E}"/>
          </ac:spMkLst>
        </pc:spChg>
        <pc:spChg chg="mod">
          <ac:chgData name="Vagnarelli, Alessio" userId="7630aed0-756e-42de-813a-0c9638cc0479" providerId="ADAL" clId="{A66496D5-9BA6-4EEB-9B69-0C583C664D08}" dt="2025-04-11T09:47:00.028" v="118" actId="6549"/>
          <ac:spMkLst>
            <pc:docMk/>
            <pc:sldMk cId="655637895" sldId="929"/>
            <ac:spMk id="6" creationId="{9ABAE42A-9DCD-C432-7122-8AE45783B5E1}"/>
          </ac:spMkLst>
        </pc:spChg>
      </pc:sldChg>
      <pc:sldChg chg="modSp add mod ord">
        <pc:chgData name="Vagnarelli, Alessio" userId="7630aed0-756e-42de-813a-0c9638cc0479" providerId="ADAL" clId="{A66496D5-9BA6-4EEB-9B69-0C583C664D08}" dt="2025-04-11T18:28:19.119" v="3233" actId="115"/>
        <pc:sldMkLst>
          <pc:docMk/>
          <pc:sldMk cId="2377811071" sldId="930"/>
        </pc:sldMkLst>
        <pc:spChg chg="mod">
          <ac:chgData name="Vagnarelli, Alessio" userId="7630aed0-756e-42de-813a-0c9638cc0479" providerId="ADAL" clId="{A66496D5-9BA6-4EEB-9B69-0C583C664D08}" dt="2025-04-11T18:27:10.278" v="3215" actId="27636"/>
          <ac:spMkLst>
            <pc:docMk/>
            <pc:sldMk cId="2377811071" sldId="930"/>
            <ac:spMk id="5" creationId="{9EBB666A-D6FD-85CA-5426-A578F68FDA0E}"/>
          </ac:spMkLst>
        </pc:spChg>
        <pc:spChg chg="mod">
          <ac:chgData name="Vagnarelli, Alessio" userId="7630aed0-756e-42de-813a-0c9638cc0479" providerId="ADAL" clId="{A66496D5-9BA6-4EEB-9B69-0C583C664D08}" dt="2025-04-11T18:28:19.119" v="3233" actId="115"/>
          <ac:spMkLst>
            <pc:docMk/>
            <pc:sldMk cId="2377811071" sldId="930"/>
            <ac:spMk id="6" creationId="{9ABAE42A-9DCD-C432-7122-8AE45783B5E1}"/>
          </ac:spMkLst>
        </pc:spChg>
      </pc:sldChg>
      <pc:sldChg chg="modSp add del mod">
        <pc:chgData name="Vagnarelli, Alessio" userId="7630aed0-756e-42de-813a-0c9638cc0479" providerId="ADAL" clId="{A66496D5-9BA6-4EEB-9B69-0C583C664D08}" dt="2025-04-11T09:51:49.946" v="145" actId="47"/>
        <pc:sldMkLst>
          <pc:docMk/>
          <pc:sldMk cId="3533200898" sldId="931"/>
        </pc:sldMkLst>
        <pc:spChg chg="mod">
          <ac:chgData name="Vagnarelli, Alessio" userId="7630aed0-756e-42de-813a-0c9638cc0479" providerId="ADAL" clId="{A66496D5-9BA6-4EEB-9B69-0C583C664D08}" dt="2025-04-11T09:51:30.680" v="143" actId="6549"/>
          <ac:spMkLst>
            <pc:docMk/>
            <pc:sldMk cId="3533200898" sldId="931"/>
            <ac:spMk id="6" creationId="{9ABAE42A-9DCD-C432-7122-8AE45783B5E1}"/>
          </ac:spMkLst>
        </pc:spChg>
      </pc:sldChg>
      <pc:sldChg chg="modSp add del mod">
        <pc:chgData name="Vagnarelli, Alessio" userId="7630aed0-756e-42de-813a-0c9638cc0479" providerId="ADAL" clId="{A66496D5-9BA6-4EEB-9B69-0C583C664D08}" dt="2025-04-11T18:28:54.413" v="3234" actId="47"/>
        <pc:sldMkLst>
          <pc:docMk/>
          <pc:sldMk cId="330290892" sldId="932"/>
        </pc:sldMkLst>
        <pc:spChg chg="mod">
          <ac:chgData name="Vagnarelli, Alessio" userId="7630aed0-756e-42de-813a-0c9638cc0479" providerId="ADAL" clId="{A66496D5-9BA6-4EEB-9B69-0C583C664D08}" dt="2025-04-11T09:52:21.909" v="149" actId="6549"/>
          <ac:spMkLst>
            <pc:docMk/>
            <pc:sldMk cId="330290892" sldId="932"/>
            <ac:spMk id="6" creationId="{9ABAE42A-9DCD-C432-7122-8AE45783B5E1}"/>
          </ac:spMkLst>
        </pc:spChg>
      </pc:sldChg>
      <pc:sldChg chg="modSp add del mod">
        <pc:chgData name="Vagnarelli, Alessio" userId="7630aed0-756e-42de-813a-0c9638cc0479" providerId="ADAL" clId="{A66496D5-9BA6-4EEB-9B69-0C583C664D08}" dt="2025-04-11T18:49:50.213" v="4093" actId="47"/>
        <pc:sldMkLst>
          <pc:docMk/>
          <pc:sldMk cId="422175080" sldId="933"/>
        </pc:sldMkLst>
        <pc:spChg chg="mod">
          <ac:chgData name="Vagnarelli, Alessio" userId="7630aed0-756e-42de-813a-0c9638cc0479" providerId="ADAL" clId="{A66496D5-9BA6-4EEB-9B69-0C583C664D08}" dt="2025-04-11T09:52:56.157" v="158" actId="6549"/>
          <ac:spMkLst>
            <pc:docMk/>
            <pc:sldMk cId="422175080" sldId="933"/>
            <ac:spMk id="6" creationId="{9ABAE42A-9DCD-C432-7122-8AE45783B5E1}"/>
          </ac:spMkLst>
        </pc:spChg>
      </pc:sldChg>
      <pc:sldChg chg="modSp add del mod">
        <pc:chgData name="Vagnarelli, Alessio" userId="7630aed0-756e-42de-813a-0c9638cc0479" providerId="ADAL" clId="{A66496D5-9BA6-4EEB-9B69-0C583C664D08}" dt="2025-04-11T18:49:59.114" v="4094" actId="47"/>
        <pc:sldMkLst>
          <pc:docMk/>
          <pc:sldMk cId="3611999148" sldId="934"/>
        </pc:sldMkLst>
        <pc:spChg chg="mod">
          <ac:chgData name="Vagnarelli, Alessio" userId="7630aed0-756e-42de-813a-0c9638cc0479" providerId="ADAL" clId="{A66496D5-9BA6-4EEB-9B69-0C583C664D08}" dt="2025-04-11T09:55:13.538" v="162" actId="6549"/>
          <ac:spMkLst>
            <pc:docMk/>
            <pc:sldMk cId="3611999148" sldId="934"/>
            <ac:spMk id="6" creationId="{9ABAE42A-9DCD-C432-7122-8AE45783B5E1}"/>
          </ac:spMkLst>
        </pc:spChg>
      </pc:sldChg>
      <pc:sldChg chg="modSp add del mod">
        <pc:chgData name="Vagnarelli, Alessio" userId="7630aed0-756e-42de-813a-0c9638cc0479" providerId="ADAL" clId="{A66496D5-9BA6-4EEB-9B69-0C583C664D08}" dt="2025-04-11T18:51:57.624" v="4105" actId="47"/>
        <pc:sldMkLst>
          <pc:docMk/>
          <pc:sldMk cId="1757939161" sldId="935"/>
        </pc:sldMkLst>
        <pc:spChg chg="mod">
          <ac:chgData name="Vagnarelli, Alessio" userId="7630aed0-756e-42de-813a-0c9638cc0479" providerId="ADAL" clId="{A66496D5-9BA6-4EEB-9B69-0C583C664D08}" dt="2025-04-11T18:50:43.985" v="4096" actId="14100"/>
          <ac:spMkLst>
            <pc:docMk/>
            <pc:sldMk cId="1757939161" sldId="935"/>
            <ac:spMk id="5" creationId="{9EBB666A-D6FD-85CA-5426-A578F68FDA0E}"/>
          </ac:spMkLst>
        </pc:spChg>
        <pc:spChg chg="mod">
          <ac:chgData name="Vagnarelli, Alessio" userId="7630aed0-756e-42de-813a-0c9638cc0479" providerId="ADAL" clId="{A66496D5-9BA6-4EEB-9B69-0C583C664D08}" dt="2025-04-11T18:50:53.132" v="4099" actId="313"/>
          <ac:spMkLst>
            <pc:docMk/>
            <pc:sldMk cId="1757939161" sldId="935"/>
            <ac:spMk id="6" creationId="{9ABAE42A-9DCD-C432-7122-8AE45783B5E1}"/>
          </ac:spMkLst>
        </pc:spChg>
      </pc:sldChg>
      <pc:sldChg chg="modSp add mod">
        <pc:chgData name="Vagnarelli, Alessio" userId="7630aed0-756e-42de-813a-0c9638cc0479" providerId="ADAL" clId="{A66496D5-9BA6-4EEB-9B69-0C583C664D08}" dt="2025-04-11T18:53:15.662" v="4110" actId="114"/>
        <pc:sldMkLst>
          <pc:docMk/>
          <pc:sldMk cId="1386567498" sldId="936"/>
        </pc:sldMkLst>
        <pc:spChg chg="mod">
          <ac:chgData name="Vagnarelli, Alessio" userId="7630aed0-756e-42de-813a-0c9638cc0479" providerId="ADAL" clId="{A66496D5-9BA6-4EEB-9B69-0C583C664D08}" dt="2025-04-11T18:51:31.460" v="4100"/>
          <ac:spMkLst>
            <pc:docMk/>
            <pc:sldMk cId="1386567498" sldId="936"/>
            <ac:spMk id="5" creationId="{9EBB666A-D6FD-85CA-5426-A578F68FDA0E}"/>
          </ac:spMkLst>
        </pc:spChg>
        <pc:spChg chg="mod">
          <ac:chgData name="Vagnarelli, Alessio" userId="7630aed0-756e-42de-813a-0c9638cc0479" providerId="ADAL" clId="{A66496D5-9BA6-4EEB-9B69-0C583C664D08}" dt="2025-04-11T18:53:15.662" v="4110" actId="114"/>
          <ac:spMkLst>
            <pc:docMk/>
            <pc:sldMk cId="1386567498" sldId="936"/>
            <ac:spMk id="6" creationId="{9ABAE42A-9DCD-C432-7122-8AE45783B5E1}"/>
          </ac:spMkLst>
        </pc:spChg>
      </pc:sldChg>
      <pc:sldChg chg="add del">
        <pc:chgData name="Vagnarelli, Alessio" userId="7630aed0-756e-42de-813a-0c9638cc0479" providerId="ADAL" clId="{A66496D5-9BA6-4EEB-9B69-0C583C664D08}" dt="2025-04-11T18:49:29.474" v="4092" actId="47"/>
        <pc:sldMkLst>
          <pc:docMk/>
          <pc:sldMk cId="4080756203" sldId="937"/>
        </pc:sldMkLst>
      </pc:sldChg>
      <pc:sldChg chg="addSp delSp modSp add mod ord modAnim">
        <pc:chgData name="Vagnarelli, Alessio" userId="7630aed0-756e-42de-813a-0c9638cc0479" providerId="ADAL" clId="{A66496D5-9BA6-4EEB-9B69-0C583C664D08}" dt="2025-04-13T15:13:08.098" v="4467"/>
        <pc:sldMkLst>
          <pc:docMk/>
          <pc:sldMk cId="2484564217" sldId="938"/>
        </pc:sldMkLst>
        <pc:spChg chg="del mod">
          <ac:chgData name="Vagnarelli, Alessio" userId="7630aed0-756e-42de-813a-0c9638cc0479" providerId="ADAL" clId="{A66496D5-9BA6-4EEB-9B69-0C583C664D08}" dt="2025-04-11T18:39:41.486" v="3867" actId="21"/>
          <ac:spMkLst>
            <pc:docMk/>
            <pc:sldMk cId="2484564217" sldId="938"/>
            <ac:spMk id="2" creationId="{AFCABA23-0A12-B9C6-05DB-345215216892}"/>
          </ac:spMkLst>
        </pc:spChg>
        <pc:spChg chg="add mod">
          <ac:chgData name="Vagnarelli, Alessio" userId="7630aed0-756e-42de-813a-0c9638cc0479" providerId="ADAL" clId="{A66496D5-9BA6-4EEB-9B69-0C583C664D08}" dt="2025-04-11T18:54:44.205" v="4113" actId="115"/>
          <ac:spMkLst>
            <pc:docMk/>
            <pc:sldMk cId="2484564217" sldId="938"/>
            <ac:spMk id="3" creationId="{CEAC53A6-A6FF-0CEE-E361-FA602A95D734}"/>
          </ac:spMkLst>
        </pc:spChg>
        <pc:spChg chg="mod">
          <ac:chgData name="Vagnarelli, Alessio" userId="7630aed0-756e-42de-813a-0c9638cc0479" providerId="ADAL" clId="{A66496D5-9BA6-4EEB-9B69-0C583C664D08}" dt="2025-04-11T18:25:20.012" v="3123" actId="20577"/>
          <ac:spMkLst>
            <pc:docMk/>
            <pc:sldMk cId="2484564217" sldId="938"/>
            <ac:spMk id="5" creationId="{9EBB666A-D6FD-85CA-5426-A578F68FDA0E}"/>
          </ac:spMkLst>
        </pc:spChg>
        <pc:spChg chg="mod">
          <ac:chgData name="Vagnarelli, Alessio" userId="7630aed0-756e-42de-813a-0c9638cc0479" providerId="ADAL" clId="{A66496D5-9BA6-4EEB-9B69-0C583C664D08}" dt="2025-04-11T18:45:39.428" v="4055" actId="1076"/>
          <ac:spMkLst>
            <pc:docMk/>
            <pc:sldMk cId="2484564217" sldId="938"/>
            <ac:spMk id="6" creationId="{9ABAE42A-9DCD-C432-7122-8AE45783B5E1}"/>
          </ac:spMkLst>
        </pc:spChg>
        <pc:spChg chg="add del mod">
          <ac:chgData name="Vagnarelli, Alessio" userId="7630aed0-756e-42de-813a-0c9638cc0479" providerId="ADAL" clId="{A66496D5-9BA6-4EEB-9B69-0C583C664D08}" dt="2025-04-11T18:44:01.908" v="4047"/>
          <ac:spMkLst>
            <pc:docMk/>
            <pc:sldMk cId="2484564217" sldId="938"/>
            <ac:spMk id="7" creationId="{C4243B25-9E69-DEAB-BA19-518B219FE413}"/>
          </ac:spMkLst>
        </pc:spChg>
        <pc:spChg chg="add mod">
          <ac:chgData name="Vagnarelli, Alessio" userId="7630aed0-756e-42de-813a-0c9638cc0479" providerId="ADAL" clId="{A66496D5-9BA6-4EEB-9B69-0C583C664D08}" dt="2025-04-11T18:45:13.272" v="4053" actId="14100"/>
          <ac:spMkLst>
            <pc:docMk/>
            <pc:sldMk cId="2484564217" sldId="938"/>
            <ac:spMk id="8" creationId="{97D93D51-65A3-DF94-A643-0BEEA34D4DF0}"/>
          </ac:spMkLst>
        </pc:spChg>
        <pc:spChg chg="add mod">
          <ac:chgData name="Vagnarelli, Alessio" userId="7630aed0-756e-42de-813a-0c9638cc0479" providerId="ADAL" clId="{A66496D5-9BA6-4EEB-9B69-0C583C664D08}" dt="2025-04-11T18:48:43.654" v="4087" actId="14100"/>
          <ac:spMkLst>
            <pc:docMk/>
            <pc:sldMk cId="2484564217" sldId="938"/>
            <ac:spMk id="9" creationId="{1A963DD2-AEA2-3472-4FC1-33FBEA01EA2E}"/>
          </ac:spMkLst>
        </pc:spChg>
      </pc:sldChg>
      <pc:sldChg chg="delSp add del mod">
        <pc:chgData name="Vagnarelli, Alessio" userId="7630aed0-756e-42de-813a-0c9638cc0479" providerId="ADAL" clId="{A66496D5-9BA6-4EEB-9B69-0C583C664D08}" dt="2025-04-11T18:23:45.391" v="3073" actId="2696"/>
        <pc:sldMkLst>
          <pc:docMk/>
          <pc:sldMk cId="3626847188" sldId="938"/>
        </pc:sldMkLst>
        <pc:spChg chg="del">
          <ac:chgData name="Vagnarelli, Alessio" userId="7630aed0-756e-42de-813a-0c9638cc0479" providerId="ADAL" clId="{A66496D5-9BA6-4EEB-9B69-0C583C664D08}" dt="2025-04-11T18:23:41.678" v="3072" actId="21"/>
          <ac:spMkLst>
            <pc:docMk/>
            <pc:sldMk cId="3626847188" sldId="938"/>
            <ac:spMk id="6" creationId="{9ABAE42A-9DCD-C432-7122-8AE45783B5E1}"/>
          </ac:spMkLst>
        </pc:spChg>
      </pc:sldChg>
      <pc:sldChg chg="add del">
        <pc:chgData name="Vagnarelli, Alessio" userId="7630aed0-756e-42de-813a-0c9638cc0479" providerId="ADAL" clId="{A66496D5-9BA6-4EEB-9B69-0C583C664D08}" dt="2025-04-11T18:19:10.099" v="3006" actId="47"/>
        <pc:sldMkLst>
          <pc:docMk/>
          <pc:sldMk cId="4056267921" sldId="938"/>
        </pc:sldMkLst>
      </pc:sldChg>
      <pc:sldChg chg="modSp add del mod">
        <pc:chgData name="Vagnarelli, Alessio" userId="7630aed0-756e-42de-813a-0c9638cc0479" providerId="ADAL" clId="{A66496D5-9BA6-4EEB-9B69-0C583C664D08}" dt="2025-04-11T18:19:05.874" v="3005" actId="47"/>
        <pc:sldMkLst>
          <pc:docMk/>
          <pc:sldMk cId="461373273" sldId="939"/>
        </pc:sldMkLst>
        <pc:spChg chg="mod">
          <ac:chgData name="Vagnarelli, Alessio" userId="7630aed0-756e-42de-813a-0c9638cc0479" providerId="ADAL" clId="{A66496D5-9BA6-4EEB-9B69-0C583C664D08}" dt="2025-04-11T18:12:31.110" v="2946" actId="6549"/>
          <ac:spMkLst>
            <pc:docMk/>
            <pc:sldMk cId="461373273" sldId="939"/>
            <ac:spMk id="6" creationId="{9ABAE42A-9DCD-C432-7122-8AE45783B5E1}"/>
          </ac:spMkLst>
        </pc:spChg>
      </pc:sldChg>
      <pc:sldChg chg="add del">
        <pc:chgData name="Vagnarelli, Alessio" userId="7630aed0-756e-42de-813a-0c9638cc0479" providerId="ADAL" clId="{A66496D5-9BA6-4EEB-9B69-0C583C664D08}" dt="2025-04-11T18:29:29.482" v="3236" actId="47"/>
        <pc:sldMkLst>
          <pc:docMk/>
          <pc:sldMk cId="1452343873" sldId="939"/>
        </pc:sldMkLst>
      </pc:sldChg>
      <pc:sldChg chg="modSp add del mod">
        <pc:chgData name="Vagnarelli, Alessio" userId="7630aed0-756e-42de-813a-0c9638cc0479" providerId="ADAL" clId="{A66496D5-9BA6-4EEB-9B69-0C583C664D08}" dt="2025-04-11T18:55:13.146" v="4114" actId="47"/>
        <pc:sldMkLst>
          <pc:docMk/>
          <pc:sldMk cId="1988227513" sldId="939"/>
        </pc:sldMkLst>
        <pc:spChg chg="mod">
          <ac:chgData name="Vagnarelli, Alessio" userId="7630aed0-756e-42de-813a-0c9638cc0479" providerId="ADAL" clId="{A66496D5-9BA6-4EEB-9B69-0C583C664D08}" dt="2025-04-11T18:34:05.842" v="3244"/>
          <ac:spMkLst>
            <pc:docMk/>
            <pc:sldMk cId="1988227513" sldId="939"/>
            <ac:spMk id="6" creationId="{9ABAE42A-9DCD-C432-7122-8AE45783B5E1}"/>
          </ac:spMkLst>
        </pc:spChg>
      </pc:sldChg>
      <pc:sldChg chg="addSp delSp modSp add del mod">
        <pc:chgData name="Vagnarelli, Alessio" userId="7630aed0-756e-42de-813a-0c9638cc0479" providerId="ADAL" clId="{A66496D5-9BA6-4EEB-9B69-0C583C664D08}" dt="2025-04-11T16:12:24.933" v="1797" actId="47"/>
        <pc:sldMkLst>
          <pc:docMk/>
          <pc:sldMk cId="3946664077" sldId="939"/>
        </pc:sldMkLst>
        <pc:spChg chg="add del">
          <ac:chgData name="Vagnarelli, Alessio" userId="7630aed0-756e-42de-813a-0c9638cc0479" providerId="ADAL" clId="{A66496D5-9BA6-4EEB-9B69-0C583C664D08}" dt="2025-04-11T16:11:32.419" v="1789" actId="22"/>
          <ac:spMkLst>
            <pc:docMk/>
            <pc:sldMk cId="3946664077" sldId="939"/>
            <ac:spMk id="3" creationId="{E6A5E98D-97E0-3B9D-FB71-E5E3F0882068}"/>
          </ac:spMkLst>
        </pc:spChg>
        <pc:spChg chg="add mod">
          <ac:chgData name="Vagnarelli, Alessio" userId="7630aed0-756e-42de-813a-0c9638cc0479" providerId="ADAL" clId="{A66496D5-9BA6-4EEB-9B69-0C583C664D08}" dt="2025-04-11T16:12:13.499" v="1793" actId="1076"/>
          <ac:spMkLst>
            <pc:docMk/>
            <pc:sldMk cId="3946664077" sldId="939"/>
            <ac:spMk id="4" creationId="{912006B7-FAD1-8980-89D7-4C28E4506BD6}"/>
          </ac:spMkLst>
        </pc:spChg>
        <pc:spChg chg="add del mod">
          <ac:chgData name="Vagnarelli, Alessio" userId="7630aed0-756e-42de-813a-0c9638cc0479" providerId="ADAL" clId="{A66496D5-9BA6-4EEB-9B69-0C583C664D08}" dt="2025-04-11T16:11:36.250" v="1790" actId="21"/>
          <ac:spMkLst>
            <pc:docMk/>
            <pc:sldMk cId="3946664077" sldId="939"/>
            <ac:spMk id="6" creationId="{9ABAE42A-9DCD-C432-7122-8AE45783B5E1}"/>
          </ac:spMkLst>
        </pc:spChg>
        <pc:spChg chg="add mod">
          <ac:chgData name="Vagnarelli, Alessio" userId="7630aed0-756e-42de-813a-0c9638cc0479" providerId="ADAL" clId="{A66496D5-9BA6-4EEB-9B69-0C583C664D08}" dt="2025-04-11T16:12:13.499" v="1793" actId="1076"/>
          <ac:spMkLst>
            <pc:docMk/>
            <pc:sldMk cId="3946664077" sldId="939"/>
            <ac:spMk id="7" creationId="{37161E5B-AE70-152F-8A2A-F89BF5BD6F29}"/>
          </ac:spMkLst>
        </pc:spChg>
        <pc:spChg chg="add mod">
          <ac:chgData name="Vagnarelli, Alessio" userId="7630aed0-756e-42de-813a-0c9638cc0479" providerId="ADAL" clId="{A66496D5-9BA6-4EEB-9B69-0C583C664D08}" dt="2025-04-11T16:12:13.499" v="1793" actId="1076"/>
          <ac:spMkLst>
            <pc:docMk/>
            <pc:sldMk cId="3946664077" sldId="939"/>
            <ac:spMk id="8" creationId="{1114A6EB-02F5-5018-FCC3-A772A7159D9B}"/>
          </ac:spMkLst>
        </pc:spChg>
        <pc:spChg chg="add mod">
          <ac:chgData name="Vagnarelli, Alessio" userId="7630aed0-756e-42de-813a-0c9638cc0479" providerId="ADAL" clId="{A66496D5-9BA6-4EEB-9B69-0C583C664D08}" dt="2025-04-11T16:12:20.198" v="1796" actId="1076"/>
          <ac:spMkLst>
            <pc:docMk/>
            <pc:sldMk cId="3946664077" sldId="939"/>
            <ac:spMk id="10" creationId="{BA9FE946-22B8-01A1-E1B0-F11F0BB27469}"/>
          </ac:spMkLst>
        </pc:spChg>
      </pc:sldChg>
      <pc:sldChg chg="modAnim">
        <pc:chgData name="Vagnarelli, Alessio" userId="7630aed0-756e-42de-813a-0c9638cc0479" providerId="ADAL" clId="{A66496D5-9BA6-4EEB-9B69-0C583C664D08}" dt="2025-04-13T15:14:37.915" v="4474"/>
        <pc:sldMkLst>
          <pc:docMk/>
          <pc:sldMk cId="4187572620" sldId="939"/>
        </pc:sldMkLst>
      </pc:sldChg>
      <pc:sldChg chg="modAnim">
        <pc:chgData name="Vagnarelli, Alessio" userId="7630aed0-756e-42de-813a-0c9638cc0479" providerId="ADAL" clId="{A66496D5-9BA6-4EEB-9B69-0C583C664D08}" dt="2025-04-13T15:13:58.074" v="4469"/>
        <pc:sldMkLst>
          <pc:docMk/>
          <pc:sldMk cId="890564415" sldId="940"/>
        </pc:sldMkLst>
      </pc:sldChg>
      <pc:sldChg chg="modAnim">
        <pc:chgData name="Vagnarelli, Alessio" userId="7630aed0-756e-42de-813a-0c9638cc0479" providerId="ADAL" clId="{A66496D5-9BA6-4EEB-9B69-0C583C664D08}" dt="2025-04-13T15:14:10.011" v="4471"/>
        <pc:sldMkLst>
          <pc:docMk/>
          <pc:sldMk cId="1982507334" sldId="941"/>
        </pc:sldMkLst>
      </pc:sldChg>
      <pc:sldChg chg="modAnim">
        <pc:chgData name="Vagnarelli, Alessio" userId="7630aed0-756e-42de-813a-0c9638cc0479" providerId="ADAL" clId="{A66496D5-9BA6-4EEB-9B69-0C583C664D08}" dt="2025-04-13T15:22:15.644" v="4488"/>
        <pc:sldMkLst>
          <pc:docMk/>
          <pc:sldMk cId="702874749" sldId="942"/>
        </pc:sldMkLst>
      </pc:sldChg>
      <pc:sldChg chg="modSp modAnim">
        <pc:chgData name="Vagnarelli, Alessio" userId="7630aed0-756e-42de-813a-0c9638cc0479" providerId="ADAL" clId="{A66496D5-9BA6-4EEB-9B69-0C583C664D08}" dt="2025-04-13T15:14:42.900" v="4475"/>
        <pc:sldMkLst>
          <pc:docMk/>
          <pc:sldMk cId="2757573144" sldId="943"/>
        </pc:sldMkLst>
        <pc:spChg chg="mod">
          <ac:chgData name="Vagnarelli, Alessio" userId="7630aed0-756e-42de-813a-0c9638cc0479" providerId="ADAL" clId="{A66496D5-9BA6-4EEB-9B69-0C583C664D08}" dt="2025-04-13T14:16:01.247" v="4117" actId="113"/>
          <ac:spMkLst>
            <pc:docMk/>
            <pc:sldMk cId="2757573144" sldId="943"/>
            <ac:spMk id="3" creationId="{4F3C014F-ED6E-A52F-9B4E-05052B89F447}"/>
          </ac:spMkLst>
        </pc:spChg>
        <pc:spChg chg="mod">
          <ac:chgData name="Vagnarelli, Alessio" userId="7630aed0-756e-42de-813a-0c9638cc0479" providerId="ADAL" clId="{A66496D5-9BA6-4EEB-9B69-0C583C664D08}" dt="2025-04-13T14:23:59.994" v="4139" actId="20577"/>
          <ac:spMkLst>
            <pc:docMk/>
            <pc:sldMk cId="2757573144" sldId="943"/>
            <ac:spMk id="6" creationId="{4ACB33DA-E597-DEA4-B028-DB24D0347CF7}"/>
          </ac:spMkLst>
        </pc:spChg>
      </pc:sldChg>
      <pc:sldChg chg="addSp delSp modSp mod delAnim modAnim">
        <pc:chgData name="Vagnarelli, Alessio" userId="7630aed0-756e-42de-813a-0c9638cc0479" providerId="ADAL" clId="{A66496D5-9BA6-4EEB-9B69-0C583C664D08}" dt="2025-04-14T08:22:44.547" v="4703" actId="20577"/>
        <pc:sldMkLst>
          <pc:docMk/>
          <pc:sldMk cId="3851401578" sldId="945"/>
        </pc:sldMkLst>
        <pc:spChg chg="del mod">
          <ac:chgData name="Vagnarelli, Alessio" userId="7630aed0-756e-42de-813a-0c9638cc0479" providerId="ADAL" clId="{A66496D5-9BA6-4EEB-9B69-0C583C664D08}" dt="2025-04-13T14:50:09.169" v="4202"/>
          <ac:spMkLst>
            <pc:docMk/>
            <pc:sldMk cId="3851401578" sldId="945"/>
            <ac:spMk id="2" creationId="{C69712F9-4B0F-C2D7-A761-FED62ED797D3}"/>
          </ac:spMkLst>
        </pc:spChg>
        <pc:spChg chg="del">
          <ac:chgData name="Vagnarelli, Alessio" userId="7630aed0-756e-42de-813a-0c9638cc0479" providerId="ADAL" clId="{A66496D5-9BA6-4EEB-9B69-0C583C664D08}" dt="2025-04-13T14:51:06.731" v="4212" actId="21"/>
          <ac:spMkLst>
            <pc:docMk/>
            <pc:sldMk cId="3851401578" sldId="945"/>
            <ac:spMk id="4" creationId="{8E12DEF2-0BE8-CB78-5759-153CBD58974A}"/>
          </ac:spMkLst>
        </pc:spChg>
        <pc:spChg chg="del mod">
          <ac:chgData name="Vagnarelli, Alessio" userId="7630aed0-756e-42de-813a-0c9638cc0479" providerId="ADAL" clId="{A66496D5-9BA6-4EEB-9B69-0C583C664D08}" dt="2025-04-13T14:55:07.743" v="4395" actId="21"/>
          <ac:spMkLst>
            <pc:docMk/>
            <pc:sldMk cId="3851401578" sldId="945"/>
            <ac:spMk id="7" creationId="{39BE575D-B276-A6DD-79DD-3F31170A4EB2}"/>
          </ac:spMkLst>
        </pc:spChg>
        <pc:spChg chg="add mod">
          <ac:chgData name="Vagnarelli, Alessio" userId="7630aed0-756e-42de-813a-0c9638cc0479" providerId="ADAL" clId="{A66496D5-9BA6-4EEB-9B69-0C583C664D08}" dt="2025-04-13T14:55:13.087" v="4396" actId="1076"/>
          <ac:spMkLst>
            <pc:docMk/>
            <pc:sldMk cId="3851401578" sldId="945"/>
            <ac:spMk id="8" creationId="{8FB13833-52BF-FB87-5302-7C9CD322D8F1}"/>
          </ac:spMkLst>
        </pc:spChg>
        <pc:spChg chg="add mod">
          <ac:chgData name="Vagnarelli, Alessio" userId="7630aed0-756e-42de-813a-0c9638cc0479" providerId="ADAL" clId="{A66496D5-9BA6-4EEB-9B69-0C583C664D08}" dt="2025-04-13T14:55:44.768" v="4400"/>
          <ac:spMkLst>
            <pc:docMk/>
            <pc:sldMk cId="3851401578" sldId="945"/>
            <ac:spMk id="11" creationId="{61081824-B99A-282C-7A6A-765398443BC3}"/>
          </ac:spMkLst>
        </pc:spChg>
        <pc:spChg chg="add mod">
          <ac:chgData name="Vagnarelli, Alessio" userId="7630aed0-756e-42de-813a-0c9638cc0479" providerId="ADAL" clId="{A66496D5-9BA6-4EEB-9B69-0C583C664D08}" dt="2025-04-13T14:55:44.768" v="4400"/>
          <ac:spMkLst>
            <pc:docMk/>
            <pc:sldMk cId="3851401578" sldId="945"/>
            <ac:spMk id="12" creationId="{62DFC1A7-98FF-6D5B-42ED-C0F11AFEB31F}"/>
          </ac:spMkLst>
        </pc:spChg>
        <pc:spChg chg="add mod">
          <ac:chgData name="Vagnarelli, Alessio" userId="7630aed0-756e-42de-813a-0c9638cc0479" providerId="ADAL" clId="{A66496D5-9BA6-4EEB-9B69-0C583C664D08}" dt="2025-04-13T14:57:21.195" v="4419"/>
          <ac:spMkLst>
            <pc:docMk/>
            <pc:sldMk cId="3851401578" sldId="945"/>
            <ac:spMk id="15" creationId="{939D4F73-85C9-6058-FEA4-62FEC53C9A08}"/>
          </ac:spMkLst>
        </pc:spChg>
        <pc:spChg chg="add mod">
          <ac:chgData name="Vagnarelli, Alessio" userId="7630aed0-756e-42de-813a-0c9638cc0479" providerId="ADAL" clId="{A66496D5-9BA6-4EEB-9B69-0C583C664D08}" dt="2025-04-13T14:57:21.195" v="4419"/>
          <ac:spMkLst>
            <pc:docMk/>
            <pc:sldMk cId="3851401578" sldId="945"/>
            <ac:spMk id="16" creationId="{2638F4AB-49E0-3825-F436-801ABADC48E9}"/>
          </ac:spMkLst>
        </pc:spChg>
        <pc:grpChg chg="add mod">
          <ac:chgData name="Vagnarelli, Alessio" userId="7630aed0-756e-42de-813a-0c9638cc0479" providerId="ADAL" clId="{A66496D5-9BA6-4EEB-9B69-0C583C664D08}" dt="2025-04-13T14:55:44.768" v="4400"/>
          <ac:grpSpMkLst>
            <pc:docMk/>
            <pc:sldMk cId="3851401578" sldId="945"/>
            <ac:grpSpMk id="10" creationId="{4CB4C202-29EB-D75B-C4BE-EA09332639BC}"/>
          </ac:grpSpMkLst>
        </pc:grpChg>
        <pc:grpChg chg="add mod">
          <ac:chgData name="Vagnarelli, Alessio" userId="7630aed0-756e-42de-813a-0c9638cc0479" providerId="ADAL" clId="{A66496D5-9BA6-4EEB-9B69-0C583C664D08}" dt="2025-04-13T14:57:21.195" v="4419"/>
          <ac:grpSpMkLst>
            <pc:docMk/>
            <pc:sldMk cId="3851401578" sldId="945"/>
            <ac:grpSpMk id="14" creationId="{CA2FCB53-5588-9983-3182-688EBA197819}"/>
          </ac:grpSpMkLst>
        </pc:grpChg>
        <pc:graphicFrameChg chg="add mod modGraphic">
          <ac:chgData name="Vagnarelli, Alessio" userId="7630aed0-756e-42de-813a-0c9638cc0479" providerId="ADAL" clId="{A66496D5-9BA6-4EEB-9B69-0C583C664D08}" dt="2025-04-14T08:22:44.547" v="4703" actId="20577"/>
          <ac:graphicFrameMkLst>
            <pc:docMk/>
            <pc:sldMk cId="3851401578" sldId="945"/>
            <ac:graphicFrameMk id="3" creationId="{D1712B42-A7C3-1F73-7CC2-7AB09B552895}"/>
          </ac:graphicFrameMkLst>
        </pc:graphicFrameChg>
        <pc:graphicFrameChg chg="add del mod modGraphic">
          <ac:chgData name="Vagnarelli, Alessio" userId="7630aed0-756e-42de-813a-0c9638cc0479" providerId="ADAL" clId="{A66496D5-9BA6-4EEB-9B69-0C583C664D08}" dt="2025-04-13T14:55:04.757" v="4394" actId="21"/>
          <ac:graphicFrameMkLst>
            <pc:docMk/>
            <pc:sldMk cId="3851401578" sldId="945"/>
            <ac:graphicFrameMk id="6" creationId="{3A459BEE-B83A-F2F5-E62E-1DC68BEEBC62}"/>
          </ac:graphicFrameMkLst>
        </pc:graphicFrameChg>
        <pc:graphicFrameChg chg="add mod">
          <ac:chgData name="Vagnarelli, Alessio" userId="7630aed0-756e-42de-813a-0c9638cc0479" providerId="ADAL" clId="{A66496D5-9BA6-4EEB-9B69-0C583C664D08}" dt="2025-04-13T14:58:53.976" v="4434" actId="20577"/>
          <ac:graphicFrameMkLst>
            <pc:docMk/>
            <pc:sldMk cId="3851401578" sldId="945"/>
            <ac:graphicFrameMk id="9" creationId="{A663BF27-C597-A5C7-DE81-0E9CEA1005DB}"/>
          </ac:graphicFrameMkLst>
        </pc:graphicFrameChg>
        <pc:graphicFrameChg chg="add del mod modGraphic">
          <ac:chgData name="Vagnarelli, Alessio" userId="7630aed0-756e-42de-813a-0c9638cc0479" providerId="ADAL" clId="{A66496D5-9BA6-4EEB-9B69-0C583C664D08}" dt="2025-04-13T14:57:02.498" v="4416" actId="21"/>
          <ac:graphicFrameMkLst>
            <pc:docMk/>
            <pc:sldMk cId="3851401578" sldId="945"/>
            <ac:graphicFrameMk id="13" creationId="{546176F6-3BE3-A087-F335-085CABE932FE}"/>
          </ac:graphicFrameMkLst>
        </pc:graphicFrameChg>
        <pc:graphicFrameChg chg="add mod">
          <ac:chgData name="Vagnarelli, Alessio" userId="7630aed0-756e-42de-813a-0c9638cc0479" providerId="ADAL" clId="{A66496D5-9BA6-4EEB-9B69-0C583C664D08}" dt="2025-04-13T14:59:15.825" v="4440" actId="20577"/>
          <ac:graphicFrameMkLst>
            <pc:docMk/>
            <pc:sldMk cId="3851401578" sldId="945"/>
            <ac:graphicFrameMk id="17" creationId="{C80F886C-3CCD-6B26-89B9-9CFF3F88A638}"/>
          </ac:graphicFrameMkLst>
        </pc:graphicFrameChg>
      </pc:sldChg>
      <pc:sldChg chg="add ord modAnim">
        <pc:chgData name="Vagnarelli, Alessio" userId="7630aed0-756e-42de-813a-0c9638cc0479" providerId="ADAL" clId="{A66496D5-9BA6-4EEB-9B69-0C583C664D08}" dt="2025-04-13T15:20:40.170" v="4480"/>
        <pc:sldMkLst>
          <pc:docMk/>
          <pc:sldMk cId="2767369075" sldId="946"/>
        </pc:sldMkLst>
      </pc:sldChg>
      <pc:sldChg chg="delSp modSp add mod ord delAnim modAnim">
        <pc:chgData name="Vagnarelli, Alessio" userId="7630aed0-756e-42de-813a-0c9638cc0479" providerId="ADAL" clId="{A66496D5-9BA6-4EEB-9B69-0C583C664D08}" dt="2025-04-14T08:22:51.036" v="4713" actId="20577"/>
        <pc:sldMkLst>
          <pc:docMk/>
          <pc:sldMk cId="2693279092" sldId="947"/>
        </pc:sldMkLst>
        <pc:spChg chg="mod">
          <ac:chgData name="Vagnarelli, Alessio" userId="7630aed0-756e-42de-813a-0c9638cc0479" providerId="ADAL" clId="{A66496D5-9BA6-4EEB-9B69-0C583C664D08}" dt="2025-04-13T14:58:33.528" v="4432" actId="1076"/>
          <ac:spMkLst>
            <pc:docMk/>
            <pc:sldMk cId="2693279092" sldId="947"/>
            <ac:spMk id="7" creationId="{39BE575D-B276-A6DD-79DD-3F31170A4EB2}"/>
          </ac:spMkLst>
        </pc:spChg>
        <pc:spChg chg="del">
          <ac:chgData name="Vagnarelli, Alessio" userId="7630aed0-756e-42de-813a-0c9638cc0479" providerId="ADAL" clId="{A66496D5-9BA6-4EEB-9B69-0C583C664D08}" dt="2025-04-13T14:57:50.654" v="4426" actId="21"/>
          <ac:spMkLst>
            <pc:docMk/>
            <pc:sldMk cId="2693279092" sldId="947"/>
            <ac:spMk id="8" creationId="{8FB13833-52BF-FB87-5302-7C9CD322D8F1}"/>
          </ac:spMkLst>
        </pc:spChg>
        <pc:graphicFrameChg chg="mod">
          <ac:chgData name="Vagnarelli, Alessio" userId="7630aed0-756e-42de-813a-0c9638cc0479" providerId="ADAL" clId="{A66496D5-9BA6-4EEB-9B69-0C583C664D08}" dt="2025-04-14T08:22:51.036" v="4713" actId="20577"/>
          <ac:graphicFrameMkLst>
            <pc:docMk/>
            <pc:sldMk cId="2693279092" sldId="947"/>
            <ac:graphicFrameMk id="3" creationId="{D1712B42-A7C3-1F73-7CC2-7AB09B552895}"/>
          </ac:graphicFrameMkLst>
        </pc:graphicFrameChg>
        <pc:graphicFrameChg chg="mod">
          <ac:chgData name="Vagnarelli, Alessio" userId="7630aed0-756e-42de-813a-0c9638cc0479" providerId="ADAL" clId="{A66496D5-9BA6-4EEB-9B69-0C583C664D08}" dt="2025-04-13T15:11:24.428" v="4463" actId="20577"/>
          <ac:graphicFrameMkLst>
            <pc:docMk/>
            <pc:sldMk cId="2693279092" sldId="947"/>
            <ac:graphicFrameMk id="6" creationId="{3A459BEE-B83A-F2F5-E62E-1DC68BEEBC62}"/>
          </ac:graphicFrameMkLst>
        </pc:graphicFrameChg>
        <pc:graphicFrameChg chg="del mod">
          <ac:chgData name="Vagnarelli, Alessio" userId="7630aed0-756e-42de-813a-0c9638cc0479" providerId="ADAL" clId="{A66496D5-9BA6-4EEB-9B69-0C583C664D08}" dt="2025-04-13T14:58:28.874" v="4430" actId="21"/>
          <ac:graphicFrameMkLst>
            <pc:docMk/>
            <pc:sldMk cId="2693279092" sldId="947"/>
            <ac:graphicFrameMk id="9" creationId="{A663BF27-C597-A5C7-DE81-0E9CEA1005DB}"/>
          </ac:graphicFrameMkLst>
        </pc:graphicFrameChg>
      </pc:sldChg>
      <pc:sldChg chg="addSp delSp modSp add mod delAnim">
        <pc:chgData name="Vagnarelli, Alessio" userId="7630aed0-756e-42de-813a-0c9638cc0479" providerId="ADAL" clId="{A66496D5-9BA6-4EEB-9B69-0C583C664D08}" dt="2025-04-13T15:04:42.175" v="4462" actId="1076"/>
        <pc:sldMkLst>
          <pc:docMk/>
          <pc:sldMk cId="2240018730" sldId="948"/>
        </pc:sldMkLst>
        <pc:spChg chg="del">
          <ac:chgData name="Vagnarelli, Alessio" userId="7630aed0-756e-42de-813a-0c9638cc0479" providerId="ADAL" clId="{A66496D5-9BA6-4EEB-9B69-0C583C664D08}" dt="2025-04-13T15:01:59.256" v="4445" actId="21"/>
          <ac:spMkLst>
            <pc:docMk/>
            <pc:sldMk cId="2240018730" sldId="948"/>
            <ac:spMk id="8" creationId="{8FB13833-52BF-FB87-5302-7C9CD322D8F1}"/>
          </ac:spMkLst>
        </pc:spChg>
        <pc:graphicFrameChg chg="del">
          <ac:chgData name="Vagnarelli, Alessio" userId="7630aed0-756e-42de-813a-0c9638cc0479" providerId="ADAL" clId="{A66496D5-9BA6-4EEB-9B69-0C583C664D08}" dt="2025-04-13T15:01:56.736" v="4444" actId="21"/>
          <ac:graphicFrameMkLst>
            <pc:docMk/>
            <pc:sldMk cId="2240018730" sldId="948"/>
            <ac:graphicFrameMk id="3" creationId="{D1712B42-A7C3-1F73-7CC2-7AB09B552895}"/>
          </ac:graphicFrameMkLst>
        </pc:graphicFrameChg>
        <pc:graphicFrameChg chg="del">
          <ac:chgData name="Vagnarelli, Alessio" userId="7630aed0-756e-42de-813a-0c9638cc0479" providerId="ADAL" clId="{A66496D5-9BA6-4EEB-9B69-0C583C664D08}" dt="2025-04-13T15:02:01.741" v="4446" actId="21"/>
          <ac:graphicFrameMkLst>
            <pc:docMk/>
            <pc:sldMk cId="2240018730" sldId="948"/>
            <ac:graphicFrameMk id="9" creationId="{A663BF27-C597-A5C7-DE81-0E9CEA1005DB}"/>
          </ac:graphicFrameMkLst>
        </pc:graphicFrameChg>
        <pc:graphicFrameChg chg="del">
          <ac:chgData name="Vagnarelli, Alessio" userId="7630aed0-756e-42de-813a-0c9638cc0479" providerId="ADAL" clId="{A66496D5-9BA6-4EEB-9B69-0C583C664D08}" dt="2025-04-13T15:02:09.390" v="4449" actId="21"/>
          <ac:graphicFrameMkLst>
            <pc:docMk/>
            <pc:sldMk cId="2240018730" sldId="948"/>
            <ac:graphicFrameMk id="17" creationId="{C80F886C-3CCD-6B26-89B9-9CFF3F88A638}"/>
          </ac:graphicFrameMkLst>
        </pc:graphicFrameChg>
        <pc:picChg chg="add del mod">
          <ac:chgData name="Vagnarelli, Alessio" userId="7630aed0-756e-42de-813a-0c9638cc0479" providerId="ADAL" clId="{A66496D5-9BA6-4EEB-9B69-0C583C664D08}" dt="2025-04-13T15:04:11.324" v="4457" actId="21"/>
          <ac:picMkLst>
            <pc:docMk/>
            <pc:sldMk cId="2240018730" sldId="948"/>
            <ac:picMk id="4" creationId="{0F5B6C88-F383-B987-5625-5E204EBF401C}"/>
          </ac:picMkLst>
        </pc:picChg>
        <pc:picChg chg="add mod">
          <ac:chgData name="Vagnarelli, Alessio" userId="7630aed0-756e-42de-813a-0c9638cc0479" providerId="ADAL" clId="{A66496D5-9BA6-4EEB-9B69-0C583C664D08}" dt="2025-04-13T15:04:42.175" v="4462" actId="1076"/>
          <ac:picMkLst>
            <pc:docMk/>
            <pc:sldMk cId="2240018730" sldId="948"/>
            <ac:picMk id="7" creationId="{C274A4A9-BA40-8FC0-0A21-FABF1D5C2288}"/>
          </ac:picMkLst>
        </pc:picChg>
      </pc:sldChg>
      <pc:sldMasterChg chg="del delSldLayout">
        <pc:chgData name="Vagnarelli, Alessio" userId="7630aed0-756e-42de-813a-0c9638cc0479" providerId="ADAL" clId="{A66496D5-9BA6-4EEB-9B69-0C583C664D08}" dt="2025-04-11T09:17:43.564" v="40" actId="47"/>
        <pc:sldMasterMkLst>
          <pc:docMk/>
          <pc:sldMasterMk cId="4181626967" sldId="2147483749"/>
        </pc:sldMasterMkLst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3850374984" sldId="2147483750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1592202286" sldId="2147483751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869671813" sldId="2147483752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1182823510" sldId="2147483753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3620574828" sldId="2147483754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4149139177" sldId="2147483755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1500110800" sldId="2147483756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917429913" sldId="2147483757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2757964316" sldId="2147483758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2077073130" sldId="2147483759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359241554" sldId="2147483760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1727767801" sldId="2147483761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4255793707" sldId="2147483762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3859432980" sldId="2147483763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192848468" sldId="2147483764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3101916174" sldId="2147483765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2914883668" sldId="2147483766"/>
          </pc:sldLayoutMkLst>
        </pc:sldLayoutChg>
        <pc:sldLayoutChg chg="del">
          <pc:chgData name="Vagnarelli, Alessio" userId="7630aed0-756e-42de-813a-0c9638cc0479" providerId="ADAL" clId="{A66496D5-9BA6-4EEB-9B69-0C583C664D08}" dt="2025-04-11T09:17:43.564" v="40" actId="47"/>
          <pc:sldLayoutMkLst>
            <pc:docMk/>
            <pc:sldMasterMk cId="4181626967" sldId="2147483749"/>
            <pc:sldLayoutMk cId="864261318" sldId="2147483767"/>
          </pc:sldLayoutMkLst>
        </pc:sldLayoutChg>
      </pc:sldMasterChg>
    </pc:docChg>
  </pc:docChgLst>
  <pc:docChgLst>
    <pc:chgData name="Vagnarelli, Alessio" userId="7630aed0-756e-42de-813a-0c9638cc0479" providerId="ADAL" clId="{6BB7F5CD-0FCF-4310-AC97-905B69459B24}"/>
    <pc:docChg chg="undo custSel delSld modSld sldOrd modSection">
      <pc:chgData name="Vagnarelli, Alessio" userId="7630aed0-756e-42de-813a-0c9638cc0479" providerId="ADAL" clId="{6BB7F5CD-0FCF-4310-AC97-905B69459B24}" dt="2024-11-27T11:54:49.530" v="438" actId="114"/>
      <pc:docMkLst>
        <pc:docMk/>
      </pc:docMkLst>
      <pc:sldChg chg="modSp mod setBg">
        <pc:chgData name="Vagnarelli, Alessio" userId="7630aed0-756e-42de-813a-0c9638cc0479" providerId="ADAL" clId="{6BB7F5CD-0FCF-4310-AC97-905B69459B24}" dt="2024-11-27T11:47:39.281" v="368" actId="6549"/>
        <pc:sldMkLst>
          <pc:docMk/>
          <pc:sldMk cId="2338008872" sldId="263"/>
        </pc:sldMkLst>
        <pc:spChg chg="mod">
          <ac:chgData name="Vagnarelli, Alessio" userId="7630aed0-756e-42de-813a-0c9638cc0479" providerId="ADAL" clId="{6BB7F5CD-0FCF-4310-AC97-905B69459B24}" dt="2024-11-26T16:41:33.839" v="120" actId="207"/>
          <ac:spMkLst>
            <pc:docMk/>
            <pc:sldMk cId="2338008872" sldId="263"/>
            <ac:spMk id="4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7T11:47:39.281" v="368" actId="6549"/>
          <ac:spMkLst>
            <pc:docMk/>
            <pc:sldMk cId="2338008872" sldId="263"/>
            <ac:spMk id="6" creationId="{00000000-0000-0000-0000-000000000000}"/>
          </ac:spMkLst>
        </pc:spChg>
      </pc:sldChg>
      <pc:sldChg chg="modSp mod setBg">
        <pc:chgData name="Vagnarelli, Alessio" userId="7630aed0-756e-42de-813a-0c9638cc0479" providerId="ADAL" clId="{6BB7F5CD-0FCF-4310-AC97-905B69459B24}" dt="2024-11-26T16:48:11.158" v="173" actId="1076"/>
        <pc:sldMkLst>
          <pc:docMk/>
          <pc:sldMk cId="2467030945" sldId="469"/>
        </pc:sldMkLst>
        <pc:spChg chg="mod">
          <ac:chgData name="Vagnarelli, Alessio" userId="7630aed0-756e-42de-813a-0c9638cc0479" providerId="ADAL" clId="{6BB7F5CD-0FCF-4310-AC97-905B69459B24}" dt="2024-11-26T16:45:09.506" v="155" actId="207"/>
          <ac:spMkLst>
            <pc:docMk/>
            <pc:sldMk cId="2467030945" sldId="469"/>
            <ac:spMk id="3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45:13.314" v="156" actId="207"/>
          <ac:spMkLst>
            <pc:docMk/>
            <pc:sldMk cId="2467030945" sldId="469"/>
            <ac:spMk id="4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45:18.167" v="157" actId="207"/>
          <ac:spMkLst>
            <pc:docMk/>
            <pc:sldMk cId="2467030945" sldId="469"/>
            <ac:spMk id="7" creationId="{9A6691BA-0854-D628-470D-722525AED093}"/>
          </ac:spMkLst>
        </pc:spChg>
        <pc:spChg chg="mod">
          <ac:chgData name="Vagnarelli, Alessio" userId="7630aed0-756e-42de-813a-0c9638cc0479" providerId="ADAL" clId="{6BB7F5CD-0FCF-4310-AC97-905B69459B24}" dt="2024-11-26T16:47:56.128" v="172" actId="207"/>
          <ac:spMkLst>
            <pc:docMk/>
            <pc:sldMk cId="2467030945" sldId="469"/>
            <ac:spMk id="17" creationId="{DDE252D7-6FE4-10BD-9C2C-92E5C8BF64AA}"/>
          </ac:spMkLst>
        </pc:spChg>
        <pc:spChg chg="mod">
          <ac:chgData name="Vagnarelli, Alessio" userId="7630aed0-756e-42de-813a-0c9638cc0479" providerId="ADAL" clId="{6BB7F5CD-0FCF-4310-AC97-905B69459B24}" dt="2024-11-26T16:45:22.972" v="158" actId="207"/>
          <ac:spMkLst>
            <pc:docMk/>
            <pc:sldMk cId="2467030945" sldId="469"/>
            <ac:spMk id="26" creationId="{774EBD6E-1694-758A-8928-2B4C093200CB}"/>
          </ac:spMkLst>
        </pc:spChg>
        <pc:picChg chg="mod">
          <ac:chgData name="Vagnarelli, Alessio" userId="7630aed0-756e-42de-813a-0c9638cc0479" providerId="ADAL" clId="{6BB7F5CD-0FCF-4310-AC97-905B69459B24}" dt="2024-11-26T16:48:11.158" v="173" actId="1076"/>
          <ac:picMkLst>
            <pc:docMk/>
            <pc:sldMk cId="2467030945" sldId="469"/>
            <ac:picMk id="34" creationId="{CD352A29-9495-7C53-B9AF-1DD59C9DB155}"/>
          </ac:picMkLst>
        </pc:picChg>
      </pc:sldChg>
      <pc:sldChg chg="modSp del mod setBg">
        <pc:chgData name="Vagnarelli, Alessio" userId="7630aed0-756e-42de-813a-0c9638cc0479" providerId="ADAL" clId="{6BB7F5CD-0FCF-4310-AC97-905B69459B24}" dt="2024-11-27T11:47:59.904" v="369" actId="2696"/>
        <pc:sldMkLst>
          <pc:docMk/>
          <pc:sldMk cId="1041853971" sldId="471"/>
        </pc:sldMkLst>
        <pc:spChg chg="mod">
          <ac:chgData name="Vagnarelli, Alessio" userId="7630aed0-756e-42de-813a-0c9638cc0479" providerId="ADAL" clId="{6BB7F5CD-0FCF-4310-AC97-905B69459B24}" dt="2024-11-26T16:45:36.913" v="160" actId="207"/>
          <ac:spMkLst>
            <pc:docMk/>
            <pc:sldMk cId="1041853971" sldId="471"/>
            <ac:spMk id="3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45:42.037" v="161" actId="207"/>
          <ac:spMkLst>
            <pc:docMk/>
            <pc:sldMk cId="1041853971" sldId="471"/>
            <ac:spMk id="4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45:33.060" v="159" actId="207"/>
          <ac:spMkLst>
            <pc:docMk/>
            <pc:sldMk cId="1041853971" sldId="471"/>
            <ac:spMk id="20" creationId="{1E2291F5-A44E-798F-203C-469611B92C87}"/>
          </ac:spMkLst>
        </pc:spChg>
      </pc:sldChg>
      <pc:sldChg chg="modSp mod setBg">
        <pc:chgData name="Vagnarelli, Alessio" userId="7630aed0-756e-42de-813a-0c9638cc0479" providerId="ADAL" clId="{6BB7F5CD-0FCF-4310-AC97-905B69459B24}" dt="2024-11-26T16:54:35.972" v="178" actId="207"/>
        <pc:sldMkLst>
          <pc:docMk/>
          <pc:sldMk cId="1049286935" sldId="485"/>
        </pc:sldMkLst>
        <pc:spChg chg="mod">
          <ac:chgData name="Vagnarelli, Alessio" userId="7630aed0-756e-42de-813a-0c9638cc0479" providerId="ADAL" clId="{6BB7F5CD-0FCF-4310-AC97-905B69459B24}" dt="2024-11-26T16:43:26.067" v="135" actId="207"/>
          <ac:spMkLst>
            <pc:docMk/>
            <pc:sldMk cId="1049286935" sldId="485"/>
            <ac:spMk id="3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43:30.273" v="136" actId="207"/>
          <ac:spMkLst>
            <pc:docMk/>
            <pc:sldMk cId="1049286935" sldId="485"/>
            <ac:spMk id="4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54:35.972" v="178" actId="207"/>
          <ac:spMkLst>
            <pc:docMk/>
            <pc:sldMk cId="1049286935" sldId="485"/>
            <ac:spMk id="8" creationId="{DA952727-D97E-13E8-E8C5-68BE65B3A0EC}"/>
          </ac:spMkLst>
        </pc:spChg>
        <pc:spChg chg="mod">
          <ac:chgData name="Vagnarelli, Alessio" userId="7630aed0-756e-42de-813a-0c9638cc0479" providerId="ADAL" clId="{6BB7F5CD-0FCF-4310-AC97-905B69459B24}" dt="2024-11-26T16:47:07.565" v="167" actId="207"/>
          <ac:spMkLst>
            <pc:docMk/>
            <pc:sldMk cId="1049286935" sldId="485"/>
            <ac:spMk id="9" creationId="{072CD72B-B7B3-3272-F840-1BD0645DA2DF}"/>
          </ac:spMkLst>
        </pc:spChg>
        <pc:spChg chg="mod">
          <ac:chgData name="Vagnarelli, Alessio" userId="7630aed0-756e-42de-813a-0c9638cc0479" providerId="ADAL" clId="{6BB7F5CD-0FCF-4310-AC97-905B69459B24}" dt="2024-11-26T16:43:47.443" v="140" actId="207"/>
          <ac:spMkLst>
            <pc:docMk/>
            <pc:sldMk cId="1049286935" sldId="485"/>
            <ac:spMk id="10" creationId="{6B40E0CD-14BF-085A-786E-B73DB87BF4B2}"/>
          </ac:spMkLst>
        </pc:spChg>
        <pc:spChg chg="mod">
          <ac:chgData name="Vagnarelli, Alessio" userId="7630aed0-756e-42de-813a-0c9638cc0479" providerId="ADAL" clId="{6BB7F5CD-0FCF-4310-AC97-905B69459B24}" dt="2024-11-26T16:43:53.166" v="141" actId="207"/>
          <ac:spMkLst>
            <pc:docMk/>
            <pc:sldMk cId="1049286935" sldId="485"/>
            <ac:spMk id="11" creationId="{DE893E94-CA4B-553B-C0A1-D312AF561113}"/>
          </ac:spMkLst>
        </pc:spChg>
        <pc:spChg chg="mod">
          <ac:chgData name="Vagnarelli, Alessio" userId="7630aed0-756e-42de-813a-0c9638cc0479" providerId="ADAL" clId="{6BB7F5CD-0FCF-4310-AC97-905B69459B24}" dt="2024-11-26T16:44:02.377" v="143" actId="207"/>
          <ac:spMkLst>
            <pc:docMk/>
            <pc:sldMk cId="1049286935" sldId="485"/>
            <ac:spMk id="12" creationId="{647193D3-42E4-6B67-1479-EAB150B04617}"/>
          </ac:spMkLst>
        </pc:spChg>
        <pc:spChg chg="mod">
          <ac:chgData name="Vagnarelli, Alessio" userId="7630aed0-756e-42de-813a-0c9638cc0479" providerId="ADAL" clId="{6BB7F5CD-0FCF-4310-AC97-905B69459B24}" dt="2024-11-26T16:44:13.016" v="145" actId="207"/>
          <ac:spMkLst>
            <pc:docMk/>
            <pc:sldMk cId="1049286935" sldId="485"/>
            <ac:spMk id="13" creationId="{B46BBBE1-3A6C-D477-BCF2-F18EAD1F2142}"/>
          </ac:spMkLst>
        </pc:spChg>
        <pc:spChg chg="mod">
          <ac:chgData name="Vagnarelli, Alessio" userId="7630aed0-756e-42de-813a-0c9638cc0479" providerId="ADAL" clId="{6BB7F5CD-0FCF-4310-AC97-905B69459B24}" dt="2024-11-26T16:44:18.466" v="146" actId="207"/>
          <ac:spMkLst>
            <pc:docMk/>
            <pc:sldMk cId="1049286935" sldId="485"/>
            <ac:spMk id="15" creationId="{5F5E2A85-B83A-FD64-7AE0-AB8A498BEB56}"/>
          </ac:spMkLst>
        </pc:spChg>
        <pc:spChg chg="mod">
          <ac:chgData name="Vagnarelli, Alessio" userId="7630aed0-756e-42de-813a-0c9638cc0479" providerId="ADAL" clId="{6BB7F5CD-0FCF-4310-AC97-905B69459B24}" dt="2024-11-26T16:43:58.011" v="142" actId="207"/>
          <ac:spMkLst>
            <pc:docMk/>
            <pc:sldMk cId="1049286935" sldId="485"/>
            <ac:spMk id="18" creationId="{18452698-F0DD-8B7C-5BC2-8BD1D54D9AEB}"/>
          </ac:spMkLst>
        </pc:spChg>
        <pc:spChg chg="mod">
          <ac:chgData name="Vagnarelli, Alessio" userId="7630aed0-756e-42de-813a-0c9638cc0479" providerId="ADAL" clId="{6BB7F5CD-0FCF-4310-AC97-905B69459B24}" dt="2024-11-26T16:44:07.543" v="144" actId="207"/>
          <ac:spMkLst>
            <pc:docMk/>
            <pc:sldMk cId="1049286935" sldId="485"/>
            <ac:spMk id="19" creationId="{95AD9446-B6F1-6A4F-41CA-B83B08A11BDF}"/>
          </ac:spMkLst>
        </pc:spChg>
        <pc:spChg chg="mod">
          <ac:chgData name="Vagnarelli, Alessio" userId="7630aed0-756e-42de-813a-0c9638cc0479" providerId="ADAL" clId="{6BB7F5CD-0FCF-4310-AC97-905B69459B24}" dt="2024-11-26T16:44:25.348" v="147" actId="207"/>
          <ac:spMkLst>
            <pc:docMk/>
            <pc:sldMk cId="1049286935" sldId="485"/>
            <ac:spMk id="20" creationId="{1ABC4C0A-879B-7319-81A2-C86A89057F4D}"/>
          </ac:spMkLst>
        </pc:spChg>
        <pc:spChg chg="mod">
          <ac:chgData name="Vagnarelli, Alessio" userId="7630aed0-756e-42de-813a-0c9638cc0479" providerId="ADAL" clId="{6BB7F5CD-0FCF-4310-AC97-905B69459B24}" dt="2024-11-26T16:44:32.753" v="149" actId="207"/>
          <ac:spMkLst>
            <pc:docMk/>
            <pc:sldMk cId="1049286935" sldId="485"/>
            <ac:spMk id="21" creationId="{4B3A17ED-E15A-F094-9078-05013DBE7063}"/>
          </ac:spMkLst>
        </pc:spChg>
        <pc:spChg chg="mod">
          <ac:chgData name="Vagnarelli, Alessio" userId="7630aed0-756e-42de-813a-0c9638cc0479" providerId="ADAL" clId="{6BB7F5CD-0FCF-4310-AC97-905B69459B24}" dt="2024-11-26T16:44:37.178" v="150" actId="207"/>
          <ac:spMkLst>
            <pc:docMk/>
            <pc:sldMk cId="1049286935" sldId="485"/>
            <ac:spMk id="22" creationId="{B3AFDE16-CF5C-0BFB-50B3-4F4ECD6D7622}"/>
          </ac:spMkLst>
        </pc:spChg>
        <pc:spChg chg="mod">
          <ac:chgData name="Vagnarelli, Alessio" userId="7630aed0-756e-42de-813a-0c9638cc0479" providerId="ADAL" clId="{6BB7F5CD-0FCF-4310-AC97-905B69459B24}" dt="2024-11-26T16:44:42.729" v="151" actId="207"/>
          <ac:spMkLst>
            <pc:docMk/>
            <pc:sldMk cId="1049286935" sldId="485"/>
            <ac:spMk id="23" creationId="{2B100C61-5072-13AF-D0FA-2C17D13A7CDA}"/>
          </ac:spMkLst>
        </pc:spChg>
        <pc:spChg chg="mod">
          <ac:chgData name="Vagnarelli, Alessio" userId="7630aed0-756e-42de-813a-0c9638cc0479" providerId="ADAL" clId="{6BB7F5CD-0FCF-4310-AC97-905B69459B24}" dt="2024-11-26T16:44:47.366" v="152" actId="207"/>
          <ac:spMkLst>
            <pc:docMk/>
            <pc:sldMk cId="1049286935" sldId="485"/>
            <ac:spMk id="25" creationId="{EF0A3013-43CF-00F0-12D2-658AFC21EE7E}"/>
          </ac:spMkLst>
        </pc:spChg>
        <pc:spChg chg="mod">
          <ac:chgData name="Vagnarelli, Alessio" userId="7630aed0-756e-42de-813a-0c9638cc0479" providerId="ADAL" clId="{6BB7F5CD-0FCF-4310-AC97-905B69459B24}" dt="2024-11-26T16:44:53.854" v="153" actId="207"/>
          <ac:spMkLst>
            <pc:docMk/>
            <pc:sldMk cId="1049286935" sldId="485"/>
            <ac:spMk id="26" creationId="{8E3C61CE-A94E-AAFF-03D8-1027B960AB33}"/>
          </ac:spMkLst>
        </pc:spChg>
      </pc:sldChg>
      <pc:sldChg chg="modSp mod setBg">
        <pc:chgData name="Vagnarelli, Alessio" userId="7630aed0-756e-42de-813a-0c9638cc0479" providerId="ADAL" clId="{6BB7F5CD-0FCF-4310-AC97-905B69459B24}" dt="2024-11-26T16:54:23.379" v="177" actId="207"/>
        <pc:sldMkLst>
          <pc:docMk/>
          <pc:sldMk cId="2173822530" sldId="887"/>
        </pc:sldMkLst>
        <pc:spChg chg="mod">
          <ac:chgData name="Vagnarelli, Alessio" userId="7630aed0-756e-42de-813a-0c9638cc0479" providerId="ADAL" clId="{6BB7F5CD-0FCF-4310-AC97-905B69459B24}" dt="2024-11-26T16:41:53.984" v="122" actId="207"/>
          <ac:spMkLst>
            <pc:docMk/>
            <pc:sldMk cId="2173822530" sldId="887"/>
            <ac:spMk id="3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41:59.108" v="123" actId="207"/>
          <ac:spMkLst>
            <pc:docMk/>
            <pc:sldMk cId="2173822530" sldId="887"/>
            <ac:spMk id="4" creationId="{00000000-0000-0000-0000-000000000000}"/>
          </ac:spMkLst>
        </pc:spChg>
        <pc:spChg chg="mod">
          <ac:chgData name="Vagnarelli, Alessio" userId="7630aed0-756e-42de-813a-0c9638cc0479" providerId="ADAL" clId="{6BB7F5CD-0FCF-4310-AC97-905B69459B24}" dt="2024-11-26T16:46:32.113" v="165" actId="207"/>
          <ac:spMkLst>
            <pc:docMk/>
            <pc:sldMk cId="2173822530" sldId="887"/>
            <ac:spMk id="8" creationId="{60855E79-10E7-7C63-9C21-CDEE5663FDC7}"/>
          </ac:spMkLst>
        </pc:spChg>
        <pc:spChg chg="mod">
          <ac:chgData name="Vagnarelli, Alessio" userId="7630aed0-756e-42de-813a-0c9638cc0479" providerId="ADAL" clId="{6BB7F5CD-0FCF-4310-AC97-905B69459B24}" dt="2024-11-26T16:42:12.314" v="125" actId="207"/>
          <ac:spMkLst>
            <pc:docMk/>
            <pc:sldMk cId="2173822530" sldId="887"/>
            <ac:spMk id="10" creationId="{0BA6A801-AB62-C6E8-AE11-A3C4A565C26F}"/>
          </ac:spMkLst>
        </pc:spChg>
        <pc:spChg chg="mod">
          <ac:chgData name="Vagnarelli, Alessio" userId="7630aed0-756e-42de-813a-0c9638cc0479" providerId="ADAL" clId="{6BB7F5CD-0FCF-4310-AC97-905B69459B24}" dt="2024-11-26T16:42:18.645" v="126" actId="207"/>
          <ac:spMkLst>
            <pc:docMk/>
            <pc:sldMk cId="2173822530" sldId="887"/>
            <ac:spMk id="12" creationId="{9330343A-B9B4-9FFD-8132-BB05A04D3341}"/>
          </ac:spMkLst>
        </pc:spChg>
        <pc:spChg chg="mod">
          <ac:chgData name="Vagnarelli, Alessio" userId="7630aed0-756e-42de-813a-0c9638cc0479" providerId="ADAL" clId="{6BB7F5CD-0FCF-4310-AC97-905B69459B24}" dt="2024-11-26T16:42:26.609" v="129" actId="207"/>
          <ac:spMkLst>
            <pc:docMk/>
            <pc:sldMk cId="2173822530" sldId="887"/>
            <ac:spMk id="13" creationId="{2945C8CF-CE69-55B8-E0BD-2CA03E55E380}"/>
          </ac:spMkLst>
        </pc:spChg>
        <pc:spChg chg="mod">
          <ac:chgData name="Vagnarelli, Alessio" userId="7630aed0-756e-42de-813a-0c9638cc0479" providerId="ADAL" clId="{6BB7F5CD-0FCF-4310-AC97-905B69459B24}" dt="2024-11-26T16:42:45.839" v="131" actId="207"/>
          <ac:spMkLst>
            <pc:docMk/>
            <pc:sldMk cId="2173822530" sldId="887"/>
            <ac:spMk id="14" creationId="{D1EEF422-B677-E9C5-8777-5624270AEA11}"/>
          </ac:spMkLst>
        </pc:spChg>
        <pc:spChg chg="mod">
          <ac:chgData name="Vagnarelli, Alessio" userId="7630aed0-756e-42de-813a-0c9638cc0479" providerId="ADAL" clId="{6BB7F5CD-0FCF-4310-AC97-905B69459B24}" dt="2024-11-26T16:42:52.153" v="132" actId="207"/>
          <ac:spMkLst>
            <pc:docMk/>
            <pc:sldMk cId="2173822530" sldId="887"/>
            <ac:spMk id="15" creationId="{60A00AF2-6BCA-21C0-765B-48A8D4BE54EC}"/>
          </ac:spMkLst>
        </pc:spChg>
        <pc:spChg chg="mod">
          <ac:chgData name="Vagnarelli, Alessio" userId="7630aed0-756e-42de-813a-0c9638cc0479" providerId="ADAL" clId="{6BB7F5CD-0FCF-4310-AC97-905B69459B24}" dt="2024-11-26T16:54:23.379" v="177" actId="207"/>
          <ac:spMkLst>
            <pc:docMk/>
            <pc:sldMk cId="2173822530" sldId="887"/>
            <ac:spMk id="18" creationId="{79E27EF0-1727-F3E5-2522-E8080DADF6CF}"/>
          </ac:spMkLst>
        </pc:spChg>
        <pc:spChg chg="mod">
          <ac:chgData name="Vagnarelli, Alessio" userId="7630aed0-756e-42de-813a-0c9638cc0479" providerId="ADAL" clId="{6BB7F5CD-0FCF-4310-AC97-905B69459B24}" dt="2024-11-26T16:52:27.940" v="175" actId="207"/>
          <ac:spMkLst>
            <pc:docMk/>
            <pc:sldMk cId="2173822530" sldId="887"/>
            <ac:spMk id="19" creationId="{7D88ADFD-5A81-5586-E58B-B4A1BA0E79F2}"/>
          </ac:spMkLst>
        </pc:spChg>
        <pc:spChg chg="mod">
          <ac:chgData name="Vagnarelli, Alessio" userId="7630aed0-756e-42de-813a-0c9638cc0479" providerId="ADAL" clId="{6BB7F5CD-0FCF-4310-AC97-905B69459B24}" dt="2024-11-26T16:42:39.239" v="130" actId="207"/>
          <ac:spMkLst>
            <pc:docMk/>
            <pc:sldMk cId="2173822530" sldId="887"/>
            <ac:spMk id="20" creationId="{6632C33B-3310-42CF-F54C-794DCCCAB9AD}"/>
          </ac:spMkLst>
        </pc:spChg>
      </pc:sldChg>
      <pc:sldChg chg="modSp">
        <pc:chgData name="Vagnarelli, Alessio" userId="7630aed0-756e-42de-813a-0c9638cc0479" providerId="ADAL" clId="{6BB7F5CD-0FCF-4310-AC97-905B69459B24}" dt="2024-11-27T11:26:49.136" v="204" actId="6549"/>
        <pc:sldMkLst>
          <pc:docMk/>
          <pc:sldMk cId="1708923643" sldId="893"/>
        </pc:sldMkLst>
        <pc:spChg chg="mod">
          <ac:chgData name="Vagnarelli, Alessio" userId="7630aed0-756e-42de-813a-0c9638cc0479" providerId="ADAL" clId="{6BB7F5CD-0FCF-4310-AC97-905B69459B24}" dt="2024-11-27T11:26:49.136" v="204" actId="6549"/>
          <ac:spMkLst>
            <pc:docMk/>
            <pc:sldMk cId="1708923643" sldId="893"/>
            <ac:spMk id="5" creationId="{020B0FD0-2384-455D-A77F-3F25414F12D9}"/>
          </ac:spMkLst>
        </pc:spChg>
      </pc:sldChg>
      <pc:sldChg chg="modSp">
        <pc:chgData name="Vagnarelli, Alessio" userId="7630aed0-756e-42de-813a-0c9638cc0479" providerId="ADAL" clId="{6BB7F5CD-0FCF-4310-AC97-905B69459B24}" dt="2024-11-27T11:28:49.635" v="214" actId="115"/>
        <pc:sldMkLst>
          <pc:docMk/>
          <pc:sldMk cId="2856221848" sldId="894"/>
        </pc:sldMkLst>
        <pc:spChg chg="mod">
          <ac:chgData name="Vagnarelli, Alessio" userId="7630aed0-756e-42de-813a-0c9638cc0479" providerId="ADAL" clId="{6BB7F5CD-0FCF-4310-AC97-905B69459B24}" dt="2024-11-27T11:28:49.635" v="214" actId="115"/>
          <ac:spMkLst>
            <pc:docMk/>
            <pc:sldMk cId="2856221848" sldId="894"/>
            <ac:spMk id="3" creationId="{EDBB151F-F353-9689-433B-CAFC09FA7125}"/>
          </ac:spMkLst>
        </pc:spChg>
      </pc:sldChg>
      <pc:sldChg chg="ord">
        <pc:chgData name="Vagnarelli, Alessio" userId="7630aed0-756e-42de-813a-0c9638cc0479" providerId="ADAL" clId="{6BB7F5CD-0FCF-4310-AC97-905B69459B24}" dt="2024-11-27T11:27:22.376" v="206"/>
        <pc:sldMkLst>
          <pc:docMk/>
          <pc:sldMk cId="365164194" sldId="895"/>
        </pc:sldMkLst>
      </pc:sldChg>
      <pc:sldChg chg="modSp">
        <pc:chgData name="Vagnarelli, Alessio" userId="7630aed0-756e-42de-813a-0c9638cc0479" providerId="ADAL" clId="{6BB7F5CD-0FCF-4310-AC97-905B69459B24}" dt="2024-11-27T11:29:43.477" v="216" actId="113"/>
        <pc:sldMkLst>
          <pc:docMk/>
          <pc:sldMk cId="3359644238" sldId="896"/>
        </pc:sldMkLst>
        <pc:spChg chg="mod">
          <ac:chgData name="Vagnarelli, Alessio" userId="7630aed0-756e-42de-813a-0c9638cc0479" providerId="ADAL" clId="{6BB7F5CD-0FCF-4310-AC97-905B69459B24}" dt="2024-11-27T11:29:43.477" v="216" actId="113"/>
          <ac:spMkLst>
            <pc:docMk/>
            <pc:sldMk cId="3359644238" sldId="896"/>
            <ac:spMk id="8" creationId="{7D23DC7D-F255-5FF0-D037-4BB7E397D4B9}"/>
          </ac:spMkLst>
        </pc:spChg>
      </pc:sldChg>
      <pc:sldChg chg="modSp">
        <pc:chgData name="Vagnarelli, Alessio" userId="7630aed0-756e-42de-813a-0c9638cc0479" providerId="ADAL" clId="{6BB7F5CD-0FCF-4310-AC97-905B69459B24}" dt="2024-11-27T11:30:46.799" v="220" actId="113"/>
        <pc:sldMkLst>
          <pc:docMk/>
          <pc:sldMk cId="3701640564" sldId="898"/>
        </pc:sldMkLst>
        <pc:spChg chg="mod">
          <ac:chgData name="Vagnarelli, Alessio" userId="7630aed0-756e-42de-813a-0c9638cc0479" providerId="ADAL" clId="{6BB7F5CD-0FCF-4310-AC97-905B69459B24}" dt="2024-11-27T11:30:46.799" v="220" actId="113"/>
          <ac:spMkLst>
            <pc:docMk/>
            <pc:sldMk cId="3701640564" sldId="898"/>
            <ac:spMk id="8" creationId="{7D23DC7D-F255-5FF0-D037-4BB7E397D4B9}"/>
          </ac:spMkLst>
        </pc:spChg>
      </pc:sldChg>
      <pc:sldChg chg="modSp">
        <pc:chgData name="Vagnarelli, Alessio" userId="7630aed0-756e-42de-813a-0c9638cc0479" providerId="ADAL" clId="{6BB7F5CD-0FCF-4310-AC97-905B69459B24}" dt="2024-11-27T11:32:01.415" v="225" actId="115"/>
        <pc:sldMkLst>
          <pc:docMk/>
          <pc:sldMk cId="3579948103" sldId="899"/>
        </pc:sldMkLst>
        <pc:spChg chg="mod">
          <ac:chgData name="Vagnarelli, Alessio" userId="7630aed0-756e-42de-813a-0c9638cc0479" providerId="ADAL" clId="{6BB7F5CD-0FCF-4310-AC97-905B69459B24}" dt="2024-11-27T11:32:01.415" v="225" actId="115"/>
          <ac:spMkLst>
            <pc:docMk/>
            <pc:sldMk cId="3579948103" sldId="899"/>
            <ac:spMk id="8" creationId="{7D23DC7D-F255-5FF0-D037-4BB7E397D4B9}"/>
          </ac:spMkLst>
        </pc:spChg>
      </pc:sldChg>
      <pc:sldChg chg="modSp">
        <pc:chgData name="Vagnarelli, Alessio" userId="7630aed0-756e-42de-813a-0c9638cc0479" providerId="ADAL" clId="{6BB7F5CD-0FCF-4310-AC97-905B69459B24}" dt="2024-11-27T11:31:14.990" v="223" actId="113"/>
        <pc:sldMkLst>
          <pc:docMk/>
          <pc:sldMk cId="3745674210" sldId="900"/>
        </pc:sldMkLst>
        <pc:spChg chg="mod">
          <ac:chgData name="Vagnarelli, Alessio" userId="7630aed0-756e-42de-813a-0c9638cc0479" providerId="ADAL" clId="{6BB7F5CD-0FCF-4310-AC97-905B69459B24}" dt="2024-11-27T11:31:14.990" v="223" actId="113"/>
          <ac:spMkLst>
            <pc:docMk/>
            <pc:sldMk cId="3745674210" sldId="900"/>
            <ac:spMk id="8" creationId="{7D23DC7D-F255-5FF0-D037-4BB7E397D4B9}"/>
          </ac:spMkLst>
        </pc:spChg>
      </pc:sldChg>
      <pc:sldChg chg="modSp">
        <pc:chgData name="Vagnarelli, Alessio" userId="7630aed0-756e-42de-813a-0c9638cc0479" providerId="ADAL" clId="{6BB7F5CD-0FCF-4310-AC97-905B69459B24}" dt="2024-11-27T11:33:03.894" v="226" actId="113"/>
        <pc:sldMkLst>
          <pc:docMk/>
          <pc:sldMk cId="494266302" sldId="901"/>
        </pc:sldMkLst>
        <pc:spChg chg="mod">
          <ac:chgData name="Vagnarelli, Alessio" userId="7630aed0-756e-42de-813a-0c9638cc0479" providerId="ADAL" clId="{6BB7F5CD-0FCF-4310-AC97-905B69459B24}" dt="2024-11-27T11:33:03.894" v="226" actId="113"/>
          <ac:spMkLst>
            <pc:docMk/>
            <pc:sldMk cId="494266302" sldId="901"/>
            <ac:spMk id="12" creationId="{E39A9A2E-E8E4-9A56-B929-796F08D55539}"/>
          </ac:spMkLst>
        </pc:spChg>
      </pc:sldChg>
      <pc:sldChg chg="modSp">
        <pc:chgData name="Vagnarelli, Alessio" userId="7630aed0-756e-42de-813a-0c9638cc0479" providerId="ADAL" clId="{6BB7F5CD-0FCF-4310-AC97-905B69459B24}" dt="2024-11-27T11:33:38.709" v="228" actId="115"/>
        <pc:sldMkLst>
          <pc:docMk/>
          <pc:sldMk cId="3499897702" sldId="902"/>
        </pc:sldMkLst>
        <pc:spChg chg="mod">
          <ac:chgData name="Vagnarelli, Alessio" userId="7630aed0-756e-42de-813a-0c9638cc0479" providerId="ADAL" clId="{6BB7F5CD-0FCF-4310-AC97-905B69459B24}" dt="2024-11-27T11:33:38.709" v="228" actId="115"/>
          <ac:spMkLst>
            <pc:docMk/>
            <pc:sldMk cId="3499897702" sldId="902"/>
            <ac:spMk id="12" creationId="{E39A9A2E-E8E4-9A56-B929-796F08D55539}"/>
          </ac:spMkLst>
        </pc:spChg>
      </pc:sldChg>
      <pc:sldChg chg="addSp delSp modSp mod">
        <pc:chgData name="Vagnarelli, Alessio" userId="7630aed0-756e-42de-813a-0c9638cc0479" providerId="ADAL" clId="{6BB7F5CD-0FCF-4310-AC97-905B69459B24}" dt="2024-11-27T11:47:04.698" v="364" actId="255"/>
        <pc:sldMkLst>
          <pc:docMk/>
          <pc:sldMk cId="4227078457" sldId="903"/>
        </pc:sldMkLst>
        <pc:spChg chg="add del mod">
          <ac:chgData name="Vagnarelli, Alessio" userId="7630aed0-756e-42de-813a-0c9638cc0479" providerId="ADAL" clId="{6BB7F5CD-0FCF-4310-AC97-905B69459B24}" dt="2024-11-27T11:43:52.580" v="311" actId="22"/>
          <ac:spMkLst>
            <pc:docMk/>
            <pc:sldMk cId="4227078457" sldId="903"/>
            <ac:spMk id="6" creationId="{E2C92374-DC1F-B5CF-628C-F4CD856F71D2}"/>
          </ac:spMkLst>
        </pc:spChg>
        <pc:spChg chg="mod">
          <ac:chgData name="Vagnarelli, Alessio" userId="7630aed0-756e-42de-813a-0c9638cc0479" providerId="ADAL" clId="{6BB7F5CD-0FCF-4310-AC97-905B69459B24}" dt="2024-11-27T11:47:04.698" v="364" actId="255"/>
          <ac:spMkLst>
            <pc:docMk/>
            <pc:sldMk cId="4227078457" sldId="903"/>
            <ac:spMk id="10" creationId="{63E6DDF6-4D9D-B650-820F-1F1CA136FD66}"/>
          </ac:spMkLst>
        </pc:spChg>
        <pc:spChg chg="add mod">
          <ac:chgData name="Vagnarelli, Alessio" userId="7630aed0-756e-42de-813a-0c9638cc0479" providerId="ADAL" clId="{6BB7F5CD-0FCF-4310-AC97-905B69459B24}" dt="2024-11-27T11:45:58.139" v="361" actId="20577"/>
          <ac:spMkLst>
            <pc:docMk/>
            <pc:sldMk cId="4227078457" sldId="903"/>
            <ac:spMk id="11" creationId="{E953B849-D1B7-7C7B-68FB-AF9EC049692C}"/>
          </ac:spMkLst>
        </pc:spChg>
        <pc:spChg chg="mod">
          <ac:chgData name="Vagnarelli, Alessio" userId="7630aed0-756e-42de-813a-0c9638cc0479" providerId="ADAL" clId="{6BB7F5CD-0FCF-4310-AC97-905B69459B24}" dt="2024-11-27T11:41:53.139" v="305" actId="20577"/>
          <ac:spMkLst>
            <pc:docMk/>
            <pc:sldMk cId="4227078457" sldId="903"/>
            <ac:spMk id="13" creationId="{2CCA31B4-FE45-04AC-256E-1D7C69029EEF}"/>
          </ac:spMkLst>
        </pc:spChg>
        <pc:picChg chg="add del mod">
          <ac:chgData name="Vagnarelli, Alessio" userId="7630aed0-756e-42de-813a-0c9638cc0479" providerId="ADAL" clId="{6BB7F5CD-0FCF-4310-AC97-905B69459B24}" dt="2024-11-27T11:35:46.515" v="299" actId="21"/>
          <ac:picMkLst>
            <pc:docMk/>
            <pc:sldMk cId="4227078457" sldId="903"/>
            <ac:picMk id="4" creationId="{4A459B65-AA6C-9E45-9AEF-1AA891C4A110}"/>
          </ac:picMkLst>
        </pc:picChg>
        <pc:picChg chg="mod">
          <ac:chgData name="Vagnarelli, Alessio" userId="7630aed0-756e-42de-813a-0c9638cc0479" providerId="ADAL" clId="{6BB7F5CD-0FCF-4310-AC97-905B69459B24}" dt="2024-11-27T11:43:25.535" v="307" actId="1076"/>
          <ac:picMkLst>
            <pc:docMk/>
            <pc:sldMk cId="4227078457" sldId="903"/>
            <ac:picMk id="9" creationId="{B953F8C5-6B7A-9C16-3ED9-99F743F1B019}"/>
          </ac:picMkLst>
        </pc:picChg>
      </pc:sldChg>
      <pc:sldChg chg="setBg">
        <pc:chgData name="Vagnarelli, Alessio" userId="7630aed0-756e-42de-813a-0c9638cc0479" providerId="ADAL" clId="{6BB7F5CD-0FCF-4310-AC97-905B69459B24}" dt="2024-11-26T16:46:02.462" v="163"/>
        <pc:sldMkLst>
          <pc:docMk/>
          <pc:sldMk cId="600344921" sldId="904"/>
        </pc:sldMkLst>
      </pc:sldChg>
      <pc:sldChg chg="modSp mod">
        <pc:chgData name="Vagnarelli, Alessio" userId="7630aed0-756e-42de-813a-0c9638cc0479" providerId="ADAL" clId="{6BB7F5CD-0FCF-4310-AC97-905B69459B24}" dt="2024-11-26T16:15:15.703" v="1" actId="1036"/>
        <pc:sldMkLst>
          <pc:docMk/>
          <pc:sldMk cId="524468396" sldId="909"/>
        </pc:sldMkLst>
        <pc:picChg chg="mod">
          <ac:chgData name="Vagnarelli, Alessio" userId="7630aed0-756e-42de-813a-0c9638cc0479" providerId="ADAL" clId="{6BB7F5CD-0FCF-4310-AC97-905B69459B24}" dt="2024-11-26T16:15:15.703" v="1" actId="1036"/>
          <ac:picMkLst>
            <pc:docMk/>
            <pc:sldMk cId="524468396" sldId="909"/>
            <ac:picMk id="12" creationId="{C2EB557A-6F1E-4C78-73ED-E09CF18F4037}"/>
          </ac:picMkLst>
        </pc:picChg>
      </pc:sldChg>
      <pc:sldChg chg="modSp">
        <pc:chgData name="Vagnarelli, Alessio" userId="7630aed0-756e-42de-813a-0c9638cc0479" providerId="ADAL" clId="{6BB7F5CD-0FCF-4310-AC97-905B69459B24}" dt="2024-11-27T11:47:18.784" v="366" actId="113"/>
        <pc:sldMkLst>
          <pc:docMk/>
          <pc:sldMk cId="2828456716" sldId="911"/>
        </pc:sldMkLst>
        <pc:spChg chg="mod">
          <ac:chgData name="Vagnarelli, Alessio" userId="7630aed0-756e-42de-813a-0c9638cc0479" providerId="ADAL" clId="{6BB7F5CD-0FCF-4310-AC97-905B69459B24}" dt="2024-11-27T11:47:18.784" v="366" actId="113"/>
          <ac:spMkLst>
            <pc:docMk/>
            <pc:sldMk cId="2828456716" sldId="911"/>
            <ac:spMk id="3" creationId="{0F401437-CD66-6C2C-4CDF-32D272854F08}"/>
          </ac:spMkLst>
        </pc:spChg>
      </pc:sldChg>
      <pc:sldChg chg="modSp">
        <pc:chgData name="Vagnarelli, Alessio" userId="7630aed0-756e-42de-813a-0c9638cc0479" providerId="ADAL" clId="{6BB7F5CD-0FCF-4310-AC97-905B69459B24}" dt="2024-11-27T11:51:46.587" v="436" actId="20577"/>
        <pc:sldMkLst>
          <pc:docMk/>
          <pc:sldMk cId="3661420669" sldId="917"/>
        </pc:sldMkLst>
        <pc:spChg chg="mod">
          <ac:chgData name="Vagnarelli, Alessio" userId="7630aed0-756e-42de-813a-0c9638cc0479" providerId="ADAL" clId="{6BB7F5CD-0FCF-4310-AC97-905B69459B24}" dt="2024-11-27T11:49:06.464" v="370" actId="6549"/>
          <ac:spMkLst>
            <pc:docMk/>
            <pc:sldMk cId="3661420669" sldId="917"/>
            <ac:spMk id="2" creationId="{CE9AFFFD-67CB-9476-6052-09BEADBB423D}"/>
          </ac:spMkLst>
        </pc:spChg>
        <pc:spChg chg="mod">
          <ac:chgData name="Vagnarelli, Alessio" userId="7630aed0-756e-42de-813a-0c9638cc0479" providerId="ADAL" clId="{6BB7F5CD-0FCF-4310-AC97-905B69459B24}" dt="2024-11-27T11:51:46.587" v="436" actId="20577"/>
          <ac:spMkLst>
            <pc:docMk/>
            <pc:sldMk cId="3661420669" sldId="917"/>
            <ac:spMk id="8" creationId="{8080FD15-8311-EC1C-F842-8C4EE0E58D51}"/>
          </ac:spMkLst>
        </pc:spChg>
      </pc:sldChg>
      <pc:sldChg chg="modSp modAnim">
        <pc:chgData name="Vagnarelli, Alessio" userId="7630aed0-756e-42de-813a-0c9638cc0479" providerId="ADAL" clId="{6BB7F5CD-0FCF-4310-AC97-905B69459B24}" dt="2024-11-27T09:10:54.857" v="203" actId="20577"/>
        <pc:sldMkLst>
          <pc:docMk/>
          <pc:sldMk cId="3954893419" sldId="919"/>
        </pc:sldMkLst>
        <pc:spChg chg="mod">
          <ac:chgData name="Vagnarelli, Alessio" userId="7630aed0-756e-42de-813a-0c9638cc0479" providerId="ADAL" clId="{6BB7F5CD-0FCF-4310-AC97-905B69459B24}" dt="2024-11-27T09:10:54.857" v="203" actId="20577"/>
          <ac:spMkLst>
            <pc:docMk/>
            <pc:sldMk cId="3954893419" sldId="919"/>
            <ac:spMk id="2" creationId="{CE9AFFFD-67CB-9476-6052-09BEADBB423D}"/>
          </ac:spMkLst>
        </pc:spChg>
      </pc:sldChg>
      <pc:sldChg chg="modSp">
        <pc:chgData name="Vagnarelli, Alessio" userId="7630aed0-756e-42de-813a-0c9638cc0479" providerId="ADAL" clId="{6BB7F5CD-0FCF-4310-AC97-905B69459B24}" dt="2024-11-27T11:54:49.530" v="438" actId="114"/>
        <pc:sldMkLst>
          <pc:docMk/>
          <pc:sldMk cId="2389471904" sldId="926"/>
        </pc:sldMkLst>
        <pc:spChg chg="mod">
          <ac:chgData name="Vagnarelli, Alessio" userId="7630aed0-756e-42de-813a-0c9638cc0479" providerId="ADAL" clId="{6BB7F5CD-0FCF-4310-AC97-905B69459B24}" dt="2024-11-27T11:54:49.530" v="438" actId="114"/>
          <ac:spMkLst>
            <pc:docMk/>
            <pc:sldMk cId="2389471904" sldId="926"/>
            <ac:spMk id="4" creationId="{8E12DEF2-0BE8-CB78-5759-153CBD58974A}"/>
          </ac:spMkLst>
        </pc:spChg>
      </pc:sldChg>
      <pc:sldChg chg="del">
        <pc:chgData name="Vagnarelli, Alessio" userId="7630aed0-756e-42de-813a-0c9638cc0479" providerId="ADAL" clId="{6BB7F5CD-0FCF-4310-AC97-905B69459B24}" dt="2024-11-26T16:51:28.098" v="174" actId="47"/>
        <pc:sldMkLst>
          <pc:docMk/>
          <pc:sldMk cId="3532024106" sldId="928"/>
        </pc:sldMkLst>
      </pc:sldChg>
      <pc:sldChg chg="del">
        <pc:chgData name="Vagnarelli, Alessio" userId="7630aed0-756e-42de-813a-0c9638cc0479" providerId="ADAL" clId="{6BB7F5CD-0FCF-4310-AC97-905B69459B24}" dt="2024-11-26T16:39:50.399" v="2" actId="47"/>
        <pc:sldMkLst>
          <pc:docMk/>
          <pc:sldMk cId="1064827500" sldId="929"/>
        </pc:sldMkLst>
      </pc:sldChg>
      <pc:sldChg chg="del">
        <pc:chgData name="Vagnarelli, Alessio" userId="7630aed0-756e-42de-813a-0c9638cc0479" providerId="ADAL" clId="{6BB7F5CD-0FCF-4310-AC97-905B69459B24}" dt="2024-11-26T16:39:50.399" v="2" actId="47"/>
        <pc:sldMkLst>
          <pc:docMk/>
          <pc:sldMk cId="1172080373" sldId="930"/>
        </pc:sldMkLst>
      </pc:sldChg>
      <pc:sldChg chg="del">
        <pc:chgData name="Vagnarelli, Alessio" userId="7630aed0-756e-42de-813a-0c9638cc0479" providerId="ADAL" clId="{6BB7F5CD-0FCF-4310-AC97-905B69459B24}" dt="2024-11-26T16:39:50.399" v="2" actId="47"/>
        <pc:sldMkLst>
          <pc:docMk/>
          <pc:sldMk cId="2125830832" sldId="931"/>
        </pc:sldMkLst>
      </pc:sldChg>
      <pc:sldChg chg="del">
        <pc:chgData name="Vagnarelli, Alessio" userId="7630aed0-756e-42de-813a-0c9638cc0479" providerId="ADAL" clId="{6BB7F5CD-0FCF-4310-AC97-905B69459B24}" dt="2024-11-26T16:39:50.399" v="2" actId="47"/>
        <pc:sldMkLst>
          <pc:docMk/>
          <pc:sldMk cId="371883801" sldId="932"/>
        </pc:sldMkLst>
      </pc:sldChg>
      <pc:sldChg chg="del">
        <pc:chgData name="Vagnarelli, Alessio" userId="7630aed0-756e-42de-813a-0c9638cc0479" providerId="ADAL" clId="{6BB7F5CD-0FCF-4310-AC97-905B69459B24}" dt="2024-11-26T16:39:50.399" v="2" actId="47"/>
        <pc:sldMkLst>
          <pc:docMk/>
          <pc:sldMk cId="825033554" sldId="933"/>
        </pc:sldMkLst>
      </pc:sldChg>
      <pc:sldMasterChg chg="delSldLayout">
        <pc:chgData name="Vagnarelli, Alessio" userId="7630aed0-756e-42de-813a-0c9638cc0479" providerId="ADAL" clId="{6BB7F5CD-0FCF-4310-AC97-905B69459B24}" dt="2024-11-26T16:51:28.098" v="174" actId="47"/>
        <pc:sldMasterMkLst>
          <pc:docMk/>
          <pc:sldMasterMk cId="599711183" sldId="2147483809"/>
        </pc:sldMasterMkLst>
        <pc:sldLayoutChg chg="del">
          <pc:chgData name="Vagnarelli, Alessio" userId="7630aed0-756e-42de-813a-0c9638cc0479" providerId="ADAL" clId="{6BB7F5CD-0FCF-4310-AC97-905B69459B24}" dt="2024-11-26T16:51:28.098" v="174" actId="47"/>
          <pc:sldLayoutMkLst>
            <pc:docMk/>
            <pc:sldMasterMk cId="599711183" sldId="2147483809"/>
            <pc:sldLayoutMk cId="2397263565" sldId="2147483852"/>
          </pc:sldLayoutMkLst>
        </pc:sldLayoutChg>
      </pc:sldMasterChg>
    </pc:docChg>
  </pc:docChgLst>
  <pc:docChgLst>
    <pc:chgData name="Vagnarelli, Alessio" userId="7630aed0-756e-42de-813a-0c9638cc0479" providerId="ADAL" clId="{379D9BBD-4BFB-49C9-9209-0BD208679427}"/>
    <pc:docChg chg="undo custSel addSld delSld modSld delMainMaster modSection">
      <pc:chgData name="Vagnarelli, Alessio" userId="7630aed0-756e-42de-813a-0c9638cc0479" providerId="ADAL" clId="{379D9BBD-4BFB-49C9-9209-0BD208679427}" dt="2025-11-11T11:17:07.189" v="340" actId="20577"/>
      <pc:docMkLst>
        <pc:docMk/>
      </pc:docMkLst>
      <pc:sldChg chg="modSp del mod">
        <pc:chgData name="Vagnarelli, Alessio" userId="7630aed0-756e-42de-813a-0c9638cc0479" providerId="ADAL" clId="{379D9BBD-4BFB-49C9-9209-0BD208679427}" dt="2025-11-10T11:34:21.830" v="101" actId="47"/>
        <pc:sldMkLst>
          <pc:docMk/>
          <pc:sldMk cId="0" sldId="256"/>
        </pc:sldMkLst>
        <pc:spChg chg="mod">
          <ac:chgData name="Vagnarelli, Alessio" userId="7630aed0-756e-42de-813a-0c9638cc0479" providerId="ADAL" clId="{379D9BBD-4BFB-49C9-9209-0BD208679427}" dt="2025-11-10T11:34:08.103" v="93" actId="20577"/>
          <ac:spMkLst>
            <pc:docMk/>
            <pc:sldMk cId="0" sldId="256"/>
            <ac:spMk id="2" creationId="{00000000-0000-0000-0000-000000000000}"/>
          </ac:spMkLst>
        </pc:spChg>
        <pc:spChg chg="mod">
          <ac:chgData name="Vagnarelli, Alessio" userId="7630aed0-756e-42de-813a-0c9638cc0479" providerId="ADAL" clId="{379D9BBD-4BFB-49C9-9209-0BD208679427}" dt="2025-11-10T11:34:13.590" v="100" actId="12"/>
          <ac:spMkLst>
            <pc:docMk/>
            <pc:sldMk cId="0" sldId="256"/>
            <ac:spMk id="4" creationId="{3C7FD9ED-E2F4-90B3-26FF-53D1EC38899C}"/>
          </ac:spMkLst>
        </pc:spChg>
      </pc:sldChg>
      <pc:sldChg chg="modSp mod">
        <pc:chgData name="Vagnarelli, Alessio" userId="7630aed0-756e-42de-813a-0c9638cc0479" providerId="ADAL" clId="{379D9BBD-4BFB-49C9-9209-0BD208679427}" dt="2025-11-10T11:28:23.074" v="38" actId="6549"/>
        <pc:sldMkLst>
          <pc:docMk/>
          <pc:sldMk cId="861957290" sldId="341"/>
        </pc:sldMkLst>
        <pc:spChg chg="mod">
          <ac:chgData name="Vagnarelli, Alessio" userId="7630aed0-756e-42de-813a-0c9638cc0479" providerId="ADAL" clId="{379D9BBD-4BFB-49C9-9209-0BD208679427}" dt="2025-11-10T11:28:23.074" v="38" actId="6549"/>
          <ac:spMkLst>
            <pc:docMk/>
            <pc:sldMk cId="861957290" sldId="341"/>
            <ac:spMk id="13" creationId="{DE5B9CEA-5E73-4E22-8C75-E8D43059FFC7}"/>
          </ac:spMkLst>
        </pc:spChg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600344921" sldId="904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524468396" sldId="909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2484564217" sldId="938"/>
        </pc:sldMkLst>
      </pc:sldChg>
      <pc:sldChg chg="modSp add del mod">
        <pc:chgData name="Vagnarelli, Alessio" userId="7630aed0-756e-42de-813a-0c9638cc0479" providerId="ADAL" clId="{379D9BBD-4BFB-49C9-9209-0BD208679427}" dt="2025-11-11T11:17:07.189" v="340" actId="20577"/>
        <pc:sldMkLst>
          <pc:docMk/>
          <pc:sldMk cId="3095614524" sldId="945"/>
        </pc:sldMkLst>
        <pc:spChg chg="mod">
          <ac:chgData name="Vagnarelli, Alessio" userId="7630aed0-756e-42de-813a-0c9638cc0479" providerId="ADAL" clId="{379D9BBD-4BFB-49C9-9209-0BD208679427}" dt="2025-11-11T11:17:07.189" v="340" actId="20577"/>
          <ac:spMkLst>
            <pc:docMk/>
            <pc:sldMk cId="3095614524" sldId="945"/>
            <ac:spMk id="2" creationId="{1A53A8AD-38C0-4854-81B3-9B99B4E007ED}"/>
          </ac:spMkLst>
        </pc:spChg>
      </pc:sldChg>
      <pc:sldChg chg="del">
        <pc:chgData name="Vagnarelli, Alessio" userId="7630aed0-756e-42de-813a-0c9638cc0479" providerId="ADAL" clId="{379D9BBD-4BFB-49C9-9209-0BD208679427}" dt="2025-11-10T11:34:38.149" v="102" actId="47"/>
        <pc:sldMkLst>
          <pc:docMk/>
          <pc:sldMk cId="3628776721" sldId="947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2115968327" sldId="949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2664645208" sldId="953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1388151979" sldId="954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247895638" sldId="955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3247052445" sldId="956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1495026251" sldId="957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763394545" sldId="965"/>
        </pc:sldMkLst>
      </pc:sldChg>
      <pc:sldChg chg="del">
        <pc:chgData name="Vagnarelli, Alessio" userId="7630aed0-756e-42de-813a-0c9638cc0479" providerId="ADAL" clId="{379D9BBD-4BFB-49C9-9209-0BD208679427}" dt="2025-11-10T11:28:39.626" v="39" actId="47"/>
        <pc:sldMkLst>
          <pc:docMk/>
          <pc:sldMk cId="1550884657" sldId="966"/>
        </pc:sldMkLst>
      </pc:sldChg>
      <pc:sldChg chg="modSp mod">
        <pc:chgData name="Vagnarelli, Alessio" userId="7630aed0-756e-42de-813a-0c9638cc0479" providerId="ADAL" clId="{379D9BBD-4BFB-49C9-9209-0BD208679427}" dt="2025-11-11T09:50:05.726" v="236" actId="20577"/>
        <pc:sldMkLst>
          <pc:docMk/>
          <pc:sldMk cId="2301407564" sldId="972"/>
        </pc:sldMkLst>
        <pc:spChg chg="mod">
          <ac:chgData name="Vagnarelli, Alessio" userId="7630aed0-756e-42de-813a-0c9638cc0479" providerId="ADAL" clId="{379D9BBD-4BFB-49C9-9209-0BD208679427}" dt="2025-11-11T09:50:05.726" v="236" actId="20577"/>
          <ac:spMkLst>
            <pc:docMk/>
            <pc:sldMk cId="2301407564" sldId="972"/>
            <ac:spMk id="3" creationId="{719670C5-0317-D1A9-857A-20FE59E4ED2B}"/>
          </ac:spMkLst>
        </pc:spChg>
      </pc:sldChg>
      <pc:sldChg chg="modSp mod">
        <pc:chgData name="Vagnarelli, Alessio" userId="7630aed0-756e-42de-813a-0c9638cc0479" providerId="ADAL" clId="{379D9BBD-4BFB-49C9-9209-0BD208679427}" dt="2025-11-11T09:50:55.310" v="318" actId="6549"/>
        <pc:sldMkLst>
          <pc:docMk/>
          <pc:sldMk cId="2645824583" sldId="973"/>
        </pc:sldMkLst>
        <pc:spChg chg="mod">
          <ac:chgData name="Vagnarelli, Alessio" userId="7630aed0-756e-42de-813a-0c9638cc0479" providerId="ADAL" clId="{379D9BBD-4BFB-49C9-9209-0BD208679427}" dt="2025-11-11T09:50:55.310" v="318" actId="6549"/>
          <ac:spMkLst>
            <pc:docMk/>
            <pc:sldMk cId="2645824583" sldId="973"/>
            <ac:spMk id="3" creationId="{719670C5-0317-D1A9-857A-20FE59E4ED2B}"/>
          </ac:spMkLst>
        </pc:spChg>
      </pc:sldChg>
      <pc:sldChg chg="add del">
        <pc:chgData name="Vagnarelli, Alessio" userId="7630aed0-756e-42de-813a-0c9638cc0479" providerId="ADAL" clId="{379D9BBD-4BFB-49C9-9209-0BD208679427}" dt="2025-11-10T11:34:57.873" v="107" actId="47"/>
        <pc:sldMkLst>
          <pc:docMk/>
          <pc:sldMk cId="4135524897" sldId="979"/>
        </pc:sldMkLst>
      </pc:sldChg>
      <pc:sldChg chg="del">
        <pc:chgData name="Vagnarelli, Alessio" userId="7630aed0-756e-42de-813a-0c9638cc0479" providerId="ADAL" clId="{379D9BBD-4BFB-49C9-9209-0BD208679427}" dt="2025-11-10T11:34:40.200" v="103" actId="47"/>
        <pc:sldMkLst>
          <pc:docMk/>
          <pc:sldMk cId="587295447" sldId="983"/>
        </pc:sldMkLst>
      </pc:sldChg>
      <pc:sldChg chg="del">
        <pc:chgData name="Vagnarelli, Alessio" userId="7630aed0-756e-42de-813a-0c9638cc0479" providerId="ADAL" clId="{379D9BBD-4BFB-49C9-9209-0BD208679427}" dt="2025-11-10T11:34:40.579" v="104" actId="47"/>
        <pc:sldMkLst>
          <pc:docMk/>
          <pc:sldMk cId="3282425431" sldId="984"/>
        </pc:sldMkLst>
      </pc:sldChg>
      <pc:sldChg chg="modSp add mod">
        <pc:chgData name="Vagnarelli, Alessio" userId="7630aed0-756e-42de-813a-0c9638cc0479" providerId="ADAL" clId="{379D9BBD-4BFB-49C9-9209-0BD208679427}" dt="2025-11-10T11:34:04.132" v="89"/>
        <pc:sldMkLst>
          <pc:docMk/>
          <pc:sldMk cId="4011841804" sldId="985"/>
        </pc:sldMkLst>
        <pc:spChg chg="mod">
          <ac:chgData name="Vagnarelli, Alessio" userId="7630aed0-756e-42de-813a-0c9638cc0479" providerId="ADAL" clId="{379D9BBD-4BFB-49C9-9209-0BD208679427}" dt="2025-11-10T11:34:04.132" v="89"/>
          <ac:spMkLst>
            <pc:docMk/>
            <pc:sldMk cId="4011841804" sldId="985"/>
            <ac:spMk id="4" creationId="{3C7FD9ED-E2F4-90B3-26FF-53D1EC38899C}"/>
          </ac:spMkLst>
        </pc:spChg>
      </pc:sldChg>
      <pc:sldChg chg="addSp modSp add mod">
        <pc:chgData name="Vagnarelli, Alessio" userId="7630aed0-756e-42de-813a-0c9638cc0479" providerId="ADAL" clId="{379D9BBD-4BFB-49C9-9209-0BD208679427}" dt="2025-11-10T11:42:25.516" v="199" actId="108"/>
        <pc:sldMkLst>
          <pc:docMk/>
          <pc:sldMk cId="2147655665" sldId="986"/>
        </pc:sldMkLst>
        <pc:spChg chg="mod">
          <ac:chgData name="Vagnarelli, Alessio" userId="7630aed0-756e-42de-813a-0c9638cc0479" providerId="ADAL" clId="{379D9BBD-4BFB-49C9-9209-0BD208679427}" dt="2025-11-10T11:37:53.750" v="127" actId="20577"/>
          <ac:spMkLst>
            <pc:docMk/>
            <pc:sldMk cId="2147655665" sldId="986"/>
            <ac:spMk id="2" creationId="{9D399F22-BE9A-675A-9B4E-95B31F94D756}"/>
          </ac:spMkLst>
        </pc:spChg>
        <pc:spChg chg="add mod">
          <ac:chgData name="Vagnarelli, Alessio" userId="7630aed0-756e-42de-813a-0c9638cc0479" providerId="ADAL" clId="{379D9BBD-4BFB-49C9-9209-0BD208679427}" dt="2025-11-10T11:42:25.516" v="199" actId="108"/>
          <ac:spMkLst>
            <pc:docMk/>
            <pc:sldMk cId="2147655665" sldId="986"/>
            <ac:spMk id="3" creationId="{B894183E-6093-13B0-C99E-22FA99F7C85F}"/>
          </ac:spMkLst>
        </pc:spChg>
        <pc:spChg chg="add mod">
          <ac:chgData name="Vagnarelli, Alessio" userId="7630aed0-756e-42de-813a-0c9638cc0479" providerId="ADAL" clId="{379D9BBD-4BFB-49C9-9209-0BD208679427}" dt="2025-11-10T11:39:55.977" v="170" actId="14100"/>
          <ac:spMkLst>
            <pc:docMk/>
            <pc:sldMk cId="2147655665" sldId="986"/>
            <ac:spMk id="5" creationId="{9D3DD133-C497-50F4-26C7-9ECA5A1739E4}"/>
          </ac:spMkLst>
        </pc:spChg>
        <pc:spChg chg="mod">
          <ac:chgData name="Vagnarelli, Alessio" userId="7630aed0-756e-42de-813a-0c9638cc0479" providerId="ADAL" clId="{379D9BBD-4BFB-49C9-9209-0BD208679427}" dt="2025-11-10T11:40:15.941" v="172" actId="20577"/>
          <ac:spMkLst>
            <pc:docMk/>
            <pc:sldMk cId="2147655665" sldId="986"/>
            <ac:spMk id="13" creationId="{3ABE9599-D3BF-4F8F-B38D-0EFD9A050F60}"/>
          </ac:spMkLst>
        </pc:spChg>
      </pc:sldChg>
      <pc:sldChg chg="delSp modSp add mod">
        <pc:chgData name="Vagnarelli, Alessio" userId="7630aed0-756e-42de-813a-0c9638cc0479" providerId="ADAL" clId="{379D9BBD-4BFB-49C9-9209-0BD208679427}" dt="2025-11-10T11:42:39.700" v="201" actId="1076"/>
        <pc:sldMkLst>
          <pc:docMk/>
          <pc:sldMk cId="435770637" sldId="987"/>
        </pc:sldMkLst>
        <pc:spChg chg="del mod">
          <ac:chgData name="Vagnarelli, Alessio" userId="7630aed0-756e-42de-813a-0c9638cc0479" providerId="ADAL" clId="{379D9BBD-4BFB-49C9-9209-0BD208679427}" dt="2025-11-10T11:41:23.026" v="180" actId="21"/>
          <ac:spMkLst>
            <pc:docMk/>
            <pc:sldMk cId="435770637" sldId="987"/>
            <ac:spMk id="3" creationId="{B894183E-6093-13B0-C99E-22FA99F7C85F}"/>
          </ac:spMkLst>
        </pc:spChg>
        <pc:spChg chg="mod">
          <ac:chgData name="Vagnarelli, Alessio" userId="7630aed0-756e-42de-813a-0c9638cc0479" providerId="ADAL" clId="{379D9BBD-4BFB-49C9-9209-0BD208679427}" dt="2025-11-10T11:42:39.700" v="201" actId="1076"/>
          <ac:spMkLst>
            <pc:docMk/>
            <pc:sldMk cId="435770637" sldId="987"/>
            <ac:spMk id="5" creationId="{9D3DD133-C497-50F4-26C7-9ECA5A1739E4}"/>
          </ac:spMkLst>
        </pc:spChg>
        <pc:spChg chg="mod">
          <ac:chgData name="Vagnarelli, Alessio" userId="7630aed0-756e-42de-813a-0c9638cc0479" providerId="ADAL" clId="{379D9BBD-4BFB-49C9-9209-0BD208679427}" dt="2025-11-10T11:42:36.444" v="200" actId="1076"/>
          <ac:spMkLst>
            <pc:docMk/>
            <pc:sldMk cId="435770637" sldId="987"/>
            <ac:spMk id="13" creationId="{3ABE9599-D3BF-4F8F-B38D-0EFD9A050F60}"/>
          </ac:spMkLst>
        </pc:spChg>
      </pc:sldChg>
      <pc:sldChg chg="delSp modSp add mod">
        <pc:chgData name="Vagnarelli, Alessio" userId="7630aed0-756e-42de-813a-0c9638cc0479" providerId="ADAL" clId="{379D9BBD-4BFB-49C9-9209-0BD208679427}" dt="2025-11-11T11:15:56.894" v="323" actId="20577"/>
        <pc:sldMkLst>
          <pc:docMk/>
          <pc:sldMk cId="3171708820" sldId="988"/>
        </pc:sldMkLst>
        <pc:spChg chg="mod">
          <ac:chgData name="Vagnarelli, Alessio" userId="7630aed0-756e-42de-813a-0c9638cc0479" providerId="ADAL" clId="{379D9BBD-4BFB-49C9-9209-0BD208679427}" dt="2025-11-11T09:37:12.444" v="206" actId="6549"/>
          <ac:spMkLst>
            <pc:docMk/>
            <pc:sldMk cId="3171708820" sldId="988"/>
            <ac:spMk id="2" creationId="{9D399F22-BE9A-675A-9B4E-95B31F94D756}"/>
          </ac:spMkLst>
        </pc:spChg>
        <pc:spChg chg="del">
          <ac:chgData name="Vagnarelli, Alessio" userId="7630aed0-756e-42de-813a-0c9638cc0479" providerId="ADAL" clId="{379D9BBD-4BFB-49C9-9209-0BD208679427}" dt="2025-11-11T09:37:09.416" v="205" actId="21"/>
          <ac:spMkLst>
            <pc:docMk/>
            <pc:sldMk cId="3171708820" sldId="988"/>
            <ac:spMk id="5" creationId="{9D3DD133-C497-50F4-26C7-9ECA5A1739E4}"/>
          </ac:spMkLst>
        </pc:spChg>
        <pc:spChg chg="mod">
          <ac:chgData name="Vagnarelli, Alessio" userId="7630aed0-756e-42de-813a-0c9638cc0479" providerId="ADAL" clId="{379D9BBD-4BFB-49C9-9209-0BD208679427}" dt="2025-11-11T11:15:56.894" v="323" actId="20577"/>
          <ac:spMkLst>
            <pc:docMk/>
            <pc:sldMk cId="3171708820" sldId="988"/>
            <ac:spMk id="13" creationId="{3ABE9599-D3BF-4F8F-B38D-0EFD9A050F60}"/>
          </ac:spMkLst>
        </pc:spChg>
      </pc:sldChg>
      <pc:sldChg chg="modSp add mod">
        <pc:chgData name="Vagnarelli, Alessio" userId="7630aed0-756e-42de-813a-0c9638cc0479" providerId="ADAL" clId="{379D9BBD-4BFB-49C9-9209-0BD208679427}" dt="2025-11-11T11:16:35.017" v="331" actId="20577"/>
        <pc:sldMkLst>
          <pc:docMk/>
          <pc:sldMk cId="3662368661" sldId="989"/>
        </pc:sldMkLst>
        <pc:spChg chg="mod">
          <ac:chgData name="Vagnarelli, Alessio" userId="7630aed0-756e-42de-813a-0c9638cc0479" providerId="ADAL" clId="{379D9BBD-4BFB-49C9-9209-0BD208679427}" dt="2025-11-11T11:16:35.017" v="331" actId="20577"/>
          <ac:spMkLst>
            <pc:docMk/>
            <pc:sldMk cId="3662368661" sldId="989"/>
            <ac:spMk id="13" creationId="{3ABE9599-D3BF-4F8F-B38D-0EFD9A050F60}"/>
          </ac:spMkLst>
        </pc:spChg>
      </pc:sldChg>
      <pc:sldMasterChg chg="del delSldLayout">
        <pc:chgData name="Vagnarelli, Alessio" userId="7630aed0-756e-42de-813a-0c9638cc0479" providerId="ADAL" clId="{379D9BBD-4BFB-49C9-9209-0BD208679427}" dt="2025-11-10T11:28:39.626" v="39" actId="47"/>
        <pc:sldMasterMkLst>
          <pc:docMk/>
          <pc:sldMasterMk cId="2771993777" sldId="2147483768"/>
        </pc:sldMasterMkLst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997181182" sldId="2147483769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3442915235" sldId="2147483770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3406197022" sldId="2147483771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326949823" sldId="2147483772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583503977" sldId="2147483773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099034072" sldId="2147483774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213117339" sldId="2147483775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141561755" sldId="2147483776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714193536" sldId="2147483777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360003960" sldId="2147483778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684102354" sldId="2147483779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315610260" sldId="2147483780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303892114" sldId="2147483781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53959436" sldId="2147483782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703056403" sldId="2147483783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781106260" sldId="2147483784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730113741" sldId="2147483785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4132833975" sldId="2147483786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161246449" sldId="2147483787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368531456" sldId="2147483788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43104325" sldId="2147483789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890780887" sldId="2147483790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852740516" sldId="2147483791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364282184" sldId="2147483792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366750858" sldId="2147483793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625676466" sldId="2147483794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973069481" sldId="2147483795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3722560430" sldId="2147483796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975718735" sldId="2147483797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095602374" sldId="2147483798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629642336" sldId="2147483799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161339316" sldId="2147483800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190844389" sldId="2147483801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4257674409" sldId="2147483802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3657656364" sldId="2147483803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1649710597" sldId="2147483804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4074021003" sldId="2147483805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2285256733" sldId="2147483806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937379286" sldId="2147483807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7175069" sldId="2147483808"/>
          </pc:sldLayoutMkLst>
        </pc:sldLayoutChg>
        <pc:sldLayoutChg chg="del">
          <pc:chgData name="Vagnarelli, Alessio" userId="7630aed0-756e-42de-813a-0c9638cc0479" providerId="ADAL" clId="{379D9BBD-4BFB-49C9-9209-0BD208679427}" dt="2025-11-10T11:28:39.626" v="39" actId="47"/>
          <pc:sldLayoutMkLst>
            <pc:docMk/>
            <pc:sldMasterMk cId="2771993777" sldId="2147483768"/>
            <pc:sldLayoutMk cId="455052470" sldId="2147483851"/>
          </pc:sldLayoutMkLst>
        </pc:sldLayoutChg>
      </pc:sldMasterChg>
    </pc:docChg>
  </pc:docChgLst>
  <pc:docChgLst>
    <pc:chgData name="Vagnarelli, Alessio" userId="7630aed0-756e-42de-813a-0c9638cc0479" providerId="ADAL" clId="{586ADE1C-C4EE-44AD-8214-1D8CF33CAA1C}"/>
    <pc:docChg chg="undo redo custSel addSld delSld modSld sldOrd modSection">
      <pc:chgData name="Vagnarelli, Alessio" userId="7630aed0-756e-42de-813a-0c9638cc0479" providerId="ADAL" clId="{586ADE1C-C4EE-44AD-8214-1D8CF33CAA1C}" dt="2025-09-22T11:29:34.353" v="2543" actId="1076"/>
      <pc:docMkLst>
        <pc:docMk/>
      </pc:docMkLst>
      <pc:sldChg chg="addSp delSp modSp mod">
        <pc:chgData name="Vagnarelli, Alessio" userId="7630aed0-756e-42de-813a-0c9638cc0479" providerId="ADAL" clId="{586ADE1C-C4EE-44AD-8214-1D8CF33CAA1C}" dt="2025-09-12T09:43:52.615" v="1955" actId="14100"/>
        <pc:sldMkLst>
          <pc:docMk/>
          <pc:sldMk cId="0" sldId="256"/>
        </pc:sldMkLst>
        <pc:spChg chg="mod">
          <ac:chgData name="Vagnarelli, Alessio" userId="7630aed0-756e-42de-813a-0c9638cc0479" providerId="ADAL" clId="{586ADE1C-C4EE-44AD-8214-1D8CF33CAA1C}" dt="2025-09-11T13:38:48.209" v="1053" actId="14100"/>
          <ac:spMkLst>
            <pc:docMk/>
            <pc:sldMk cId="0" sldId="256"/>
            <ac:spMk id="2" creationId="{00000000-0000-0000-0000-000000000000}"/>
          </ac:spMkLst>
        </pc:spChg>
        <pc:spChg chg="del mod">
          <ac:chgData name="Vagnarelli, Alessio" userId="7630aed0-756e-42de-813a-0c9638cc0479" providerId="ADAL" clId="{586ADE1C-C4EE-44AD-8214-1D8CF33CAA1C}" dt="2025-09-11T13:36:47.316" v="1037" actId="21"/>
          <ac:spMkLst>
            <pc:docMk/>
            <pc:sldMk cId="0" sldId="256"/>
            <ac:spMk id="3" creationId="{00000000-0000-0000-0000-000000000000}"/>
          </ac:spMkLst>
        </pc:spChg>
        <pc:spChg chg="add mod">
          <ac:chgData name="Vagnarelli, Alessio" userId="7630aed0-756e-42de-813a-0c9638cc0479" providerId="ADAL" clId="{586ADE1C-C4EE-44AD-8214-1D8CF33CAA1C}" dt="2025-09-12T09:43:52.615" v="1955" actId="14100"/>
          <ac:spMkLst>
            <pc:docMk/>
            <pc:sldMk cId="0" sldId="256"/>
            <ac:spMk id="4" creationId="{3C7FD9ED-E2F4-90B3-26FF-53D1EC38899C}"/>
          </ac:spMkLst>
        </pc:spChg>
      </pc:sldChg>
      <pc:sldChg chg="addSp delSp modSp mod">
        <pc:chgData name="Vagnarelli, Alessio" userId="7630aed0-756e-42de-813a-0c9638cc0479" providerId="ADAL" clId="{586ADE1C-C4EE-44AD-8214-1D8CF33CAA1C}" dt="2025-09-12T09:43:47.095" v="1954" actId="14100"/>
        <pc:sldMkLst>
          <pc:docMk/>
          <pc:sldMk cId="0" sldId="257"/>
        </pc:sldMkLst>
        <pc:spChg chg="mod">
          <ac:chgData name="Vagnarelli, Alessio" userId="7630aed0-756e-42de-813a-0c9638cc0479" providerId="ADAL" clId="{586ADE1C-C4EE-44AD-8214-1D8CF33CAA1C}" dt="2025-09-11T13:39:17.796" v="1058" actId="14100"/>
          <ac:spMkLst>
            <pc:docMk/>
            <pc:sldMk cId="0" sldId="257"/>
            <ac:spMk id="2" creationId="{00000000-0000-0000-0000-000000000000}"/>
          </ac:spMkLst>
        </pc:spChg>
        <pc:spChg chg="del mod">
          <ac:chgData name="Vagnarelli, Alessio" userId="7630aed0-756e-42de-813a-0c9638cc0479" providerId="ADAL" clId="{586ADE1C-C4EE-44AD-8214-1D8CF33CAA1C}" dt="2025-09-11T13:37:14.058" v="1040" actId="21"/>
          <ac:spMkLst>
            <pc:docMk/>
            <pc:sldMk cId="0" sldId="257"/>
            <ac:spMk id="3" creationId="{00000000-0000-0000-0000-000000000000}"/>
          </ac:spMkLst>
        </pc:spChg>
        <pc:spChg chg="add mod">
          <ac:chgData name="Vagnarelli, Alessio" userId="7630aed0-756e-42de-813a-0c9638cc0479" providerId="ADAL" clId="{586ADE1C-C4EE-44AD-8214-1D8CF33CAA1C}" dt="2025-09-12T09:43:47.095" v="1954" actId="14100"/>
          <ac:spMkLst>
            <pc:docMk/>
            <pc:sldMk cId="0" sldId="257"/>
            <ac:spMk id="4" creationId="{4BE14CED-946E-ADBE-6CC4-EF4B42C2848D}"/>
          </ac:spMkLst>
        </pc:spChg>
      </pc:sldChg>
      <pc:sldChg chg="modSp mod">
        <pc:chgData name="Vagnarelli, Alessio" userId="7630aed0-756e-42de-813a-0c9638cc0479" providerId="ADAL" clId="{586ADE1C-C4EE-44AD-8214-1D8CF33CAA1C}" dt="2025-09-09T13:08:22.752" v="35" actId="6549"/>
        <pc:sldMkLst>
          <pc:docMk/>
          <pc:sldMk cId="861957290" sldId="341"/>
        </pc:sldMkLst>
        <pc:spChg chg="mod">
          <ac:chgData name="Vagnarelli, Alessio" userId="7630aed0-756e-42de-813a-0c9638cc0479" providerId="ADAL" clId="{586ADE1C-C4EE-44AD-8214-1D8CF33CAA1C}" dt="2025-09-09T13:08:22.752" v="35" actId="6549"/>
          <ac:spMkLst>
            <pc:docMk/>
            <pc:sldMk cId="861957290" sldId="341"/>
            <ac:spMk id="13" creationId="{DE5B9CEA-5E73-4E22-8C75-E8D43059FFC7}"/>
          </ac:spMkLst>
        </pc:spChg>
      </pc:sldChg>
      <pc:sldChg chg="modSp mod ord">
        <pc:chgData name="Vagnarelli, Alessio" userId="7630aed0-756e-42de-813a-0c9638cc0479" providerId="ADAL" clId="{586ADE1C-C4EE-44AD-8214-1D8CF33CAA1C}" dt="2025-09-09T13:11:40.222" v="57" actId="207"/>
        <pc:sldMkLst>
          <pc:docMk/>
          <pc:sldMk cId="600344921" sldId="904"/>
        </pc:sldMkLst>
        <pc:spChg chg="mod">
          <ac:chgData name="Vagnarelli, Alessio" userId="7630aed0-756e-42de-813a-0c9638cc0479" providerId="ADAL" clId="{586ADE1C-C4EE-44AD-8214-1D8CF33CAA1C}" dt="2025-09-09T13:11:40.222" v="57" actId="207"/>
          <ac:spMkLst>
            <pc:docMk/>
            <pc:sldMk cId="600344921" sldId="904"/>
            <ac:spMk id="2" creationId="{1A53A8AD-38C0-4854-81B3-9B99B4E007ED}"/>
          </ac:spMkLst>
        </pc:spChg>
      </pc:sldChg>
      <pc:sldChg chg="del">
        <pc:chgData name="Vagnarelli, Alessio" userId="7630aed0-756e-42de-813a-0c9638cc0479" providerId="ADAL" clId="{586ADE1C-C4EE-44AD-8214-1D8CF33CAA1C}" dt="2025-09-09T13:10:43.001" v="45" actId="47"/>
        <pc:sldMkLst>
          <pc:docMk/>
          <pc:sldMk cId="2241761266" sldId="912"/>
        </pc:sldMkLst>
      </pc:sldChg>
      <pc:sldChg chg="delSp modSp del mod delAnim">
        <pc:chgData name="Vagnarelli, Alessio" userId="7630aed0-756e-42de-813a-0c9638cc0479" providerId="ADAL" clId="{586ADE1C-C4EE-44AD-8214-1D8CF33CAA1C}" dt="2025-09-11T11:15:22.870" v="390" actId="47"/>
        <pc:sldMkLst>
          <pc:docMk/>
          <pc:sldMk cId="4125824611" sldId="927"/>
        </pc:sldMkLst>
        <pc:spChg chg="mod">
          <ac:chgData name="Vagnarelli, Alessio" userId="7630aed0-756e-42de-813a-0c9638cc0479" providerId="ADAL" clId="{586ADE1C-C4EE-44AD-8214-1D8CF33CAA1C}" dt="2025-09-09T13:10:08.432" v="41" actId="1076"/>
          <ac:spMkLst>
            <pc:docMk/>
            <pc:sldMk cId="4125824611" sldId="927"/>
            <ac:spMk id="2" creationId="{382D5AE9-7CEF-7218-A6BB-FB19AF74390A}"/>
          </ac:spMkLst>
        </pc:spChg>
        <pc:spChg chg="del">
          <ac:chgData name="Vagnarelli, Alessio" userId="7630aed0-756e-42de-813a-0c9638cc0479" providerId="ADAL" clId="{586ADE1C-C4EE-44AD-8214-1D8CF33CAA1C}" dt="2025-09-09T13:09:55.965" v="38" actId="21"/>
          <ac:spMkLst>
            <pc:docMk/>
            <pc:sldMk cId="4125824611" sldId="927"/>
            <ac:spMk id="4" creationId="{8E12DEF2-0BE8-CB78-5759-153CBD58974A}"/>
          </ac:spMkLst>
        </pc:spChg>
        <pc:spChg chg="mod">
          <ac:chgData name="Vagnarelli, Alessio" userId="7630aed0-756e-42de-813a-0c9638cc0479" providerId="ADAL" clId="{586ADE1C-C4EE-44AD-8214-1D8CF33CAA1C}" dt="2025-09-09T13:10:01.165" v="39" actId="6549"/>
          <ac:spMkLst>
            <pc:docMk/>
            <pc:sldMk cId="4125824611" sldId="927"/>
            <ac:spMk id="5" creationId="{9EBB666A-D6FD-85CA-5426-A578F68FDA0E}"/>
          </ac:spMkLst>
        </pc:spChg>
        <pc:spChg chg="del">
          <ac:chgData name="Vagnarelli, Alessio" userId="7630aed0-756e-42de-813a-0c9638cc0479" providerId="ADAL" clId="{586ADE1C-C4EE-44AD-8214-1D8CF33CAA1C}" dt="2025-09-09T13:10:05.584" v="40" actId="21"/>
          <ac:spMkLst>
            <pc:docMk/>
            <pc:sldMk cId="4125824611" sldId="927"/>
            <ac:spMk id="6" creationId="{31C4B402-8060-047D-D3C4-AA9E14EBA153}"/>
          </ac:spMkLst>
        </pc:spChg>
        <pc:spChg chg="del">
          <ac:chgData name="Vagnarelli, Alessio" userId="7630aed0-756e-42de-813a-0c9638cc0479" providerId="ADAL" clId="{586ADE1C-C4EE-44AD-8214-1D8CF33CAA1C}" dt="2025-09-09T13:10:11.037" v="42" actId="21"/>
          <ac:spMkLst>
            <pc:docMk/>
            <pc:sldMk cId="4125824611" sldId="927"/>
            <ac:spMk id="8" creationId="{0467753E-7179-E4A4-D01A-FF33D932244B}"/>
          </ac:spMkLst>
        </pc:spChg>
      </pc:sldChg>
      <pc:sldChg chg="del">
        <pc:chgData name="Vagnarelli, Alessio" userId="7630aed0-756e-42de-813a-0c9638cc0479" providerId="ADAL" clId="{586ADE1C-C4EE-44AD-8214-1D8CF33CAA1C}" dt="2025-09-11T11:14:52.875" v="387" actId="47"/>
        <pc:sldMkLst>
          <pc:docMk/>
          <pc:sldMk cId="2377811071" sldId="930"/>
        </pc:sldMkLst>
      </pc:sldChg>
      <pc:sldChg chg="del">
        <pc:chgData name="Vagnarelli, Alessio" userId="7630aed0-756e-42de-813a-0c9638cc0479" providerId="ADAL" clId="{586ADE1C-C4EE-44AD-8214-1D8CF33CAA1C}" dt="2025-09-11T11:14:56.087" v="388" actId="47"/>
        <pc:sldMkLst>
          <pc:docMk/>
          <pc:sldMk cId="1386567498" sldId="936"/>
        </pc:sldMkLst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4187572620" sldId="939"/>
        </pc:sldMkLst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890564415" sldId="940"/>
        </pc:sldMkLst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1982507334" sldId="941"/>
        </pc:sldMkLst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702874749" sldId="942"/>
        </pc:sldMkLst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2757573144" sldId="943"/>
        </pc:sldMkLst>
      </pc:sldChg>
      <pc:sldChg chg="del">
        <pc:chgData name="Vagnarelli, Alessio" userId="7630aed0-756e-42de-813a-0c9638cc0479" providerId="ADAL" clId="{586ADE1C-C4EE-44AD-8214-1D8CF33CAA1C}" dt="2025-09-11T11:15:06.453" v="389" actId="47"/>
        <pc:sldMkLst>
          <pc:docMk/>
          <pc:sldMk cId="112213075" sldId="944"/>
        </pc:sldMkLst>
      </pc:sldChg>
      <pc:sldChg chg="modSp add del mod">
        <pc:chgData name="Vagnarelli, Alessio" userId="7630aed0-756e-42de-813a-0c9638cc0479" providerId="ADAL" clId="{586ADE1C-C4EE-44AD-8214-1D8CF33CAA1C}" dt="2025-09-09T13:39:11.649" v="322" actId="47"/>
        <pc:sldMkLst>
          <pc:docMk/>
          <pc:sldMk cId="3095614524" sldId="945"/>
        </pc:sldMkLst>
        <pc:spChg chg="mod">
          <ac:chgData name="Vagnarelli, Alessio" userId="7630aed0-756e-42de-813a-0c9638cc0479" providerId="ADAL" clId="{586ADE1C-C4EE-44AD-8214-1D8CF33CAA1C}" dt="2025-09-09T13:11:51.041" v="58" actId="108"/>
          <ac:spMkLst>
            <pc:docMk/>
            <pc:sldMk cId="3095614524" sldId="945"/>
            <ac:spMk id="2" creationId="{1A53A8AD-38C0-4854-81B3-9B99B4E007ED}"/>
          </ac:spMkLst>
        </pc:spChg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3851401578" sldId="945"/>
        </pc:sldMkLst>
      </pc:sldChg>
      <pc:sldChg chg="delSp modSp del mod delAnim">
        <pc:chgData name="Vagnarelli, Alessio" userId="7630aed0-756e-42de-813a-0c9638cc0479" providerId="ADAL" clId="{586ADE1C-C4EE-44AD-8214-1D8CF33CAA1C}" dt="2025-09-11T13:43:23.632" v="1095" actId="47"/>
        <pc:sldMkLst>
          <pc:docMk/>
          <pc:sldMk cId="272238740" sldId="946"/>
        </pc:sldMkLst>
        <pc:spChg chg="del mod">
          <ac:chgData name="Vagnarelli, Alessio" userId="7630aed0-756e-42de-813a-0c9638cc0479" providerId="ADAL" clId="{586ADE1C-C4EE-44AD-8214-1D8CF33CAA1C}" dt="2025-09-11T13:12:18.725" v="959" actId="21"/>
          <ac:spMkLst>
            <pc:docMk/>
            <pc:sldMk cId="272238740" sldId="946"/>
            <ac:spMk id="2" creationId="{382D5AE9-7CEF-7218-A6BB-FB19AF74390A}"/>
          </ac:spMkLst>
        </pc:spChg>
        <pc:spChg chg="del mod">
          <ac:chgData name="Vagnarelli, Alessio" userId="7630aed0-756e-42de-813a-0c9638cc0479" providerId="ADAL" clId="{586ADE1C-C4EE-44AD-8214-1D8CF33CAA1C}" dt="2025-09-11T13:12:07.858" v="955" actId="21"/>
          <ac:spMkLst>
            <pc:docMk/>
            <pc:sldMk cId="272238740" sldId="946"/>
            <ac:spMk id="4" creationId="{8E12DEF2-0BE8-CB78-5759-153CBD58974A}"/>
          </ac:spMkLst>
        </pc:spChg>
        <pc:spChg chg="mod">
          <ac:chgData name="Vagnarelli, Alessio" userId="7630aed0-756e-42de-813a-0c9638cc0479" providerId="ADAL" clId="{586ADE1C-C4EE-44AD-8214-1D8CF33CAA1C}" dt="2025-09-11T13:12:02.400" v="953" actId="14100"/>
          <ac:spMkLst>
            <pc:docMk/>
            <pc:sldMk cId="272238740" sldId="946"/>
            <ac:spMk id="5" creationId="{9EBB666A-D6FD-85CA-5426-A578F68FDA0E}"/>
          </ac:spMkLst>
        </pc:spChg>
        <pc:spChg chg="del mod">
          <ac:chgData name="Vagnarelli, Alessio" userId="7630aed0-756e-42de-813a-0c9638cc0479" providerId="ADAL" clId="{586ADE1C-C4EE-44AD-8214-1D8CF33CAA1C}" dt="2025-09-11T13:12:13.739" v="957" actId="21"/>
          <ac:spMkLst>
            <pc:docMk/>
            <pc:sldMk cId="272238740" sldId="946"/>
            <ac:spMk id="6" creationId="{31C4B402-8060-047D-D3C4-AA9E14EBA153}"/>
          </ac:spMkLst>
        </pc:spChg>
        <pc:spChg chg="mod">
          <ac:chgData name="Vagnarelli, Alessio" userId="7630aed0-756e-42de-813a-0c9638cc0479" providerId="ADAL" clId="{586ADE1C-C4EE-44AD-8214-1D8CF33CAA1C}" dt="2025-09-11T13:15:25.756" v="981" actId="6549"/>
          <ac:spMkLst>
            <pc:docMk/>
            <pc:sldMk cId="272238740" sldId="946"/>
            <ac:spMk id="8" creationId="{0467753E-7179-E4A4-D01A-FF33D932244B}"/>
          </ac:spMkLst>
        </pc:spChg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2767369075" sldId="946"/>
        </pc:sldMkLst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2693279092" sldId="947"/>
        </pc:sldMkLst>
      </pc:sldChg>
      <pc:sldChg chg="modSp mod">
        <pc:chgData name="Vagnarelli, Alessio" userId="7630aed0-756e-42de-813a-0c9638cc0479" providerId="ADAL" clId="{586ADE1C-C4EE-44AD-8214-1D8CF33CAA1C}" dt="2025-09-09T13:12:24.368" v="60" actId="207"/>
        <pc:sldMkLst>
          <pc:docMk/>
          <pc:sldMk cId="3628776721" sldId="947"/>
        </pc:sldMkLst>
        <pc:spChg chg="mod">
          <ac:chgData name="Vagnarelli, Alessio" userId="7630aed0-756e-42de-813a-0c9638cc0479" providerId="ADAL" clId="{586ADE1C-C4EE-44AD-8214-1D8CF33CAA1C}" dt="2025-09-09T13:12:24.368" v="60" actId="207"/>
          <ac:spMkLst>
            <pc:docMk/>
            <pc:sldMk cId="3628776721" sldId="947"/>
            <ac:spMk id="2" creationId="{1A53A8AD-38C0-4854-81B3-9B99B4E007ED}"/>
          </ac:spMkLst>
        </pc:spChg>
      </pc:sldChg>
      <pc:sldChg chg="del">
        <pc:chgData name="Vagnarelli, Alessio" userId="7630aed0-756e-42de-813a-0c9638cc0479" providerId="ADAL" clId="{586ADE1C-C4EE-44AD-8214-1D8CF33CAA1C}" dt="2025-09-09T13:09:03.655" v="36" actId="2696"/>
        <pc:sldMkLst>
          <pc:docMk/>
          <pc:sldMk cId="2240018730" sldId="948"/>
        </pc:sldMkLst>
      </pc:sldChg>
      <pc:sldChg chg="addSp delSp modSp del mod delAnim">
        <pc:chgData name="Vagnarelli, Alessio" userId="7630aed0-756e-42de-813a-0c9638cc0479" providerId="ADAL" clId="{586ADE1C-C4EE-44AD-8214-1D8CF33CAA1C}" dt="2025-09-22T11:25:02.259" v="2514" actId="47"/>
        <pc:sldMkLst>
          <pc:docMk/>
          <pc:sldMk cId="3818132493" sldId="948"/>
        </pc:sldMkLst>
        <pc:spChg chg="del">
          <ac:chgData name="Vagnarelli, Alessio" userId="7630aed0-756e-42de-813a-0c9638cc0479" providerId="ADAL" clId="{586ADE1C-C4EE-44AD-8214-1D8CF33CAA1C}" dt="2025-09-12T09:57:25.887" v="2020" actId="21"/>
          <ac:spMkLst>
            <pc:docMk/>
            <pc:sldMk cId="3818132493" sldId="948"/>
            <ac:spMk id="2" creationId="{382D5AE9-7CEF-7218-A6BB-FB19AF74390A}"/>
          </ac:spMkLst>
        </pc:spChg>
        <pc:spChg chg="add del mod">
          <ac:chgData name="Vagnarelli, Alessio" userId="7630aed0-756e-42de-813a-0c9638cc0479" providerId="ADAL" clId="{586ADE1C-C4EE-44AD-8214-1D8CF33CAA1C}" dt="2025-09-22T11:22:08.170" v="2497" actId="21"/>
          <ac:spMkLst>
            <pc:docMk/>
            <pc:sldMk cId="3818132493" sldId="948"/>
            <ac:spMk id="3" creationId="{533E9EA9-5C2C-3D70-14F9-65F716D50684}"/>
          </ac:spMkLst>
        </pc:spChg>
        <pc:spChg chg="del">
          <ac:chgData name="Vagnarelli, Alessio" userId="7630aed0-756e-42de-813a-0c9638cc0479" providerId="ADAL" clId="{586ADE1C-C4EE-44AD-8214-1D8CF33CAA1C}" dt="2025-09-12T09:57:20.781" v="2018" actId="21"/>
          <ac:spMkLst>
            <pc:docMk/>
            <pc:sldMk cId="3818132493" sldId="948"/>
            <ac:spMk id="4" creationId="{8E12DEF2-0BE8-CB78-5759-153CBD58974A}"/>
          </ac:spMkLst>
        </pc:spChg>
        <pc:spChg chg="mod">
          <ac:chgData name="Vagnarelli, Alessio" userId="7630aed0-756e-42de-813a-0c9638cc0479" providerId="ADAL" clId="{586ADE1C-C4EE-44AD-8214-1D8CF33CAA1C}" dt="2025-09-12T09:58:49.944" v="2120" actId="20577"/>
          <ac:spMkLst>
            <pc:docMk/>
            <pc:sldMk cId="3818132493" sldId="948"/>
            <ac:spMk id="5" creationId="{9EBB666A-D6FD-85CA-5426-A578F68FDA0E}"/>
          </ac:spMkLst>
        </pc:spChg>
        <pc:spChg chg="mod">
          <ac:chgData name="Vagnarelli, Alessio" userId="7630aed0-756e-42de-813a-0c9638cc0479" providerId="ADAL" clId="{586ADE1C-C4EE-44AD-8214-1D8CF33CAA1C}" dt="2025-09-22T11:22:13.302" v="2498" actId="1076"/>
          <ac:spMkLst>
            <pc:docMk/>
            <pc:sldMk cId="3818132493" sldId="948"/>
            <ac:spMk id="6" creationId="{31C4B402-8060-047D-D3C4-AA9E14EBA153}"/>
          </ac:spMkLst>
        </pc:spChg>
        <pc:spChg chg="del">
          <ac:chgData name="Vagnarelli, Alessio" userId="7630aed0-756e-42de-813a-0c9638cc0479" providerId="ADAL" clId="{586ADE1C-C4EE-44AD-8214-1D8CF33CAA1C}" dt="2025-09-12T09:57:28.974" v="2021" actId="21"/>
          <ac:spMkLst>
            <pc:docMk/>
            <pc:sldMk cId="3818132493" sldId="948"/>
            <ac:spMk id="8" creationId="{0467753E-7179-E4A4-D01A-FF33D932244B}"/>
          </ac:spMkLst>
        </pc:spChg>
      </pc:sldChg>
      <pc:sldChg chg="addSp delSp modSp add mod delAnim modAnim">
        <pc:chgData name="Vagnarelli, Alessio" userId="7630aed0-756e-42de-813a-0c9638cc0479" providerId="ADAL" clId="{586ADE1C-C4EE-44AD-8214-1D8CF33CAA1C}" dt="2025-09-22T11:03:41.234" v="2260" actId="123"/>
        <pc:sldMkLst>
          <pc:docMk/>
          <pc:sldMk cId="2115968327" sldId="949"/>
        </pc:sldMkLst>
        <pc:spChg chg="mod">
          <ac:chgData name="Vagnarelli, Alessio" userId="7630aed0-756e-42de-813a-0c9638cc0479" providerId="ADAL" clId="{586ADE1C-C4EE-44AD-8214-1D8CF33CAA1C}" dt="2025-09-12T09:39:14.014" v="1908" actId="255"/>
          <ac:spMkLst>
            <pc:docMk/>
            <pc:sldMk cId="2115968327" sldId="949"/>
            <ac:spMk id="2" creationId="{382D5AE9-7CEF-7218-A6BB-FB19AF74390A}"/>
          </ac:spMkLst>
        </pc:spChg>
        <pc:spChg chg="add mod">
          <ac:chgData name="Vagnarelli, Alessio" userId="7630aed0-756e-42de-813a-0c9638cc0479" providerId="ADAL" clId="{586ADE1C-C4EE-44AD-8214-1D8CF33CAA1C}" dt="2025-09-11T11:16:46.575" v="413" actId="1076"/>
          <ac:spMkLst>
            <pc:docMk/>
            <pc:sldMk cId="2115968327" sldId="949"/>
            <ac:spMk id="3" creationId="{6F164EE4-40ED-9162-69E8-5685DC9D5A39}"/>
          </ac:spMkLst>
        </pc:spChg>
        <pc:spChg chg="add mod">
          <ac:chgData name="Vagnarelli, Alessio" userId="7630aed0-756e-42de-813a-0c9638cc0479" providerId="ADAL" clId="{586ADE1C-C4EE-44AD-8214-1D8CF33CAA1C}" dt="2025-09-12T09:39:19.393" v="1909" actId="255"/>
          <ac:spMkLst>
            <pc:docMk/>
            <pc:sldMk cId="2115968327" sldId="949"/>
            <ac:spMk id="4" creationId="{E686F964-1FF7-C922-6230-E2A1A06616C6}"/>
          </ac:spMkLst>
        </pc:spChg>
        <pc:spChg chg="del mod">
          <ac:chgData name="Vagnarelli, Alessio" userId="7630aed0-756e-42de-813a-0c9638cc0479" providerId="ADAL" clId="{586ADE1C-C4EE-44AD-8214-1D8CF33CAA1C}" dt="2025-09-11T11:39:21.589" v="553" actId="21"/>
          <ac:spMkLst>
            <pc:docMk/>
            <pc:sldMk cId="2115968327" sldId="949"/>
            <ac:spMk id="5" creationId="{9EBB666A-D6FD-85CA-5426-A578F68FDA0E}"/>
          </ac:spMkLst>
        </pc:spChg>
        <pc:spChg chg="add del mod">
          <ac:chgData name="Vagnarelli, Alessio" userId="7630aed0-756e-42de-813a-0c9638cc0479" providerId="ADAL" clId="{586ADE1C-C4EE-44AD-8214-1D8CF33CAA1C}" dt="2025-09-11T11:19:56.477" v="435" actId="21"/>
          <ac:spMkLst>
            <pc:docMk/>
            <pc:sldMk cId="2115968327" sldId="949"/>
            <ac:spMk id="6" creationId="{0E1040A9-A20F-83ED-E160-79852A2B42D2}"/>
          </ac:spMkLst>
        </pc:spChg>
        <pc:spChg chg="add del mod">
          <ac:chgData name="Vagnarelli, Alessio" userId="7630aed0-756e-42de-813a-0c9638cc0479" providerId="ADAL" clId="{586ADE1C-C4EE-44AD-8214-1D8CF33CAA1C}" dt="2025-09-11T11:56:09.259" v="689" actId="21"/>
          <ac:spMkLst>
            <pc:docMk/>
            <pc:sldMk cId="2115968327" sldId="949"/>
            <ac:spMk id="7" creationId="{4DC38A4E-33F8-17DE-FB4C-7D5CB2A4CE86}"/>
          </ac:spMkLst>
        </pc:spChg>
        <pc:spChg chg="add mod">
          <ac:chgData name="Vagnarelli, Alessio" userId="7630aed0-756e-42de-813a-0c9638cc0479" providerId="ADAL" clId="{586ADE1C-C4EE-44AD-8214-1D8CF33CAA1C}" dt="2025-09-22T11:03:23.080" v="2258" actId="6549"/>
          <ac:spMkLst>
            <pc:docMk/>
            <pc:sldMk cId="2115968327" sldId="949"/>
            <ac:spMk id="8" creationId="{8D9271CC-53E2-6F2F-A4D4-8277A0D4C014}"/>
          </ac:spMkLst>
        </pc:spChg>
        <pc:spChg chg="add del mod">
          <ac:chgData name="Vagnarelli, Alessio" userId="7630aed0-756e-42de-813a-0c9638cc0479" providerId="ADAL" clId="{586ADE1C-C4EE-44AD-8214-1D8CF33CAA1C}" dt="2025-09-11T11:39:24.297" v="554" actId="21"/>
          <ac:spMkLst>
            <pc:docMk/>
            <pc:sldMk cId="2115968327" sldId="949"/>
            <ac:spMk id="10" creationId="{E0480FE5-A023-C0B7-249E-C4FF85314A48}"/>
          </ac:spMkLst>
        </pc:spChg>
        <pc:spChg chg="add mod">
          <ac:chgData name="Vagnarelli, Alessio" userId="7630aed0-756e-42de-813a-0c9638cc0479" providerId="ADAL" clId="{586ADE1C-C4EE-44AD-8214-1D8CF33CAA1C}" dt="2025-09-22T11:03:41.234" v="2260" actId="123"/>
          <ac:spMkLst>
            <pc:docMk/>
            <pc:sldMk cId="2115968327" sldId="949"/>
            <ac:spMk id="11" creationId="{A5BBC8C3-FA76-72AE-EAB2-A9083F48DA59}"/>
          </ac:spMkLst>
        </pc:spChg>
      </pc:sldChg>
      <pc:sldChg chg="modSp add del">
        <pc:chgData name="Vagnarelli, Alessio" userId="7630aed0-756e-42de-813a-0c9638cc0479" providerId="ADAL" clId="{586ADE1C-C4EE-44AD-8214-1D8CF33CAA1C}" dt="2025-09-09T13:38:54.153" v="318" actId="47"/>
        <pc:sldMkLst>
          <pc:docMk/>
          <pc:sldMk cId="975193875" sldId="950"/>
        </pc:sldMkLst>
        <pc:spChg chg="mod">
          <ac:chgData name="Vagnarelli, Alessio" userId="7630aed0-756e-42de-813a-0c9638cc0479" providerId="ADAL" clId="{586ADE1C-C4EE-44AD-8214-1D8CF33CAA1C}" dt="2025-09-09T13:29:07.137" v="224" actId="6549"/>
          <ac:spMkLst>
            <pc:docMk/>
            <pc:sldMk cId="975193875" sldId="950"/>
            <ac:spMk id="2" creationId="{382D5AE9-7CEF-7218-A6BB-FB19AF74390A}"/>
          </ac:spMkLst>
        </pc:spChg>
      </pc:sldChg>
      <pc:sldChg chg="modSp add del">
        <pc:chgData name="Vagnarelli, Alessio" userId="7630aed0-756e-42de-813a-0c9638cc0479" providerId="ADAL" clId="{586ADE1C-C4EE-44AD-8214-1D8CF33CAA1C}" dt="2025-09-09T13:38:54.904" v="319" actId="47"/>
        <pc:sldMkLst>
          <pc:docMk/>
          <pc:sldMk cId="1127821138" sldId="951"/>
        </pc:sldMkLst>
        <pc:spChg chg="mod">
          <ac:chgData name="Vagnarelli, Alessio" userId="7630aed0-756e-42de-813a-0c9638cc0479" providerId="ADAL" clId="{586ADE1C-C4EE-44AD-8214-1D8CF33CAA1C}" dt="2025-09-09T13:32:13.378" v="243" actId="20577"/>
          <ac:spMkLst>
            <pc:docMk/>
            <pc:sldMk cId="1127821138" sldId="951"/>
            <ac:spMk id="2" creationId="{382D5AE9-7CEF-7218-A6BB-FB19AF74390A}"/>
          </ac:spMkLst>
        </pc:spChg>
      </pc:sldChg>
      <pc:sldChg chg="modSp add del">
        <pc:chgData name="Vagnarelli, Alessio" userId="7630aed0-756e-42de-813a-0c9638cc0479" providerId="ADAL" clId="{586ADE1C-C4EE-44AD-8214-1D8CF33CAA1C}" dt="2025-09-09T13:38:55.743" v="320" actId="47"/>
        <pc:sldMkLst>
          <pc:docMk/>
          <pc:sldMk cId="1021248946" sldId="952"/>
        </pc:sldMkLst>
        <pc:spChg chg="mod">
          <ac:chgData name="Vagnarelli, Alessio" userId="7630aed0-756e-42de-813a-0c9638cc0479" providerId="ADAL" clId="{586ADE1C-C4EE-44AD-8214-1D8CF33CAA1C}" dt="2025-09-09T13:33:01.230" v="257" actId="6549"/>
          <ac:spMkLst>
            <pc:docMk/>
            <pc:sldMk cId="1021248946" sldId="952"/>
            <ac:spMk id="2" creationId="{382D5AE9-7CEF-7218-A6BB-FB19AF74390A}"/>
          </ac:spMkLst>
        </pc:spChg>
      </pc:sldChg>
      <pc:sldChg chg="addSp delSp modSp add mod">
        <pc:chgData name="Vagnarelli, Alessio" userId="7630aed0-756e-42de-813a-0c9638cc0479" providerId="ADAL" clId="{586ADE1C-C4EE-44AD-8214-1D8CF33CAA1C}" dt="2025-09-22T11:03:53.740" v="2266" actId="14100"/>
        <pc:sldMkLst>
          <pc:docMk/>
          <pc:sldMk cId="2664645208" sldId="953"/>
        </pc:sldMkLst>
        <pc:spChg chg="mod">
          <ac:chgData name="Vagnarelli, Alessio" userId="7630aed0-756e-42de-813a-0c9638cc0479" providerId="ADAL" clId="{586ADE1C-C4EE-44AD-8214-1D8CF33CAA1C}" dt="2025-09-12T09:39:38.983" v="1912" actId="255"/>
          <ac:spMkLst>
            <pc:docMk/>
            <pc:sldMk cId="2664645208" sldId="953"/>
            <ac:spMk id="2" creationId="{382D5AE9-7CEF-7218-A6BB-FB19AF74390A}"/>
          </ac:spMkLst>
        </pc:spChg>
        <pc:spChg chg="add del mod">
          <ac:chgData name="Vagnarelli, Alessio" userId="7630aed0-756e-42de-813a-0c9638cc0479" providerId="ADAL" clId="{586ADE1C-C4EE-44AD-8214-1D8CF33CAA1C}" dt="2025-09-11T11:33:30.182" v="490" actId="21"/>
          <ac:spMkLst>
            <pc:docMk/>
            <pc:sldMk cId="2664645208" sldId="953"/>
            <ac:spMk id="4" creationId="{2F753FA3-68B8-EDE2-3529-D1EEA5054CDB}"/>
          </ac:spMkLst>
        </pc:spChg>
        <pc:spChg chg="mod">
          <ac:chgData name="Vagnarelli, Alessio" userId="7630aed0-756e-42de-813a-0c9638cc0479" providerId="ADAL" clId="{586ADE1C-C4EE-44AD-8214-1D8CF33CAA1C}" dt="2025-09-22T11:03:53.740" v="2266" actId="14100"/>
          <ac:spMkLst>
            <pc:docMk/>
            <pc:sldMk cId="2664645208" sldId="953"/>
            <ac:spMk id="5" creationId="{9EBB666A-D6FD-85CA-5426-A578F68FDA0E}"/>
          </ac:spMkLst>
        </pc:spChg>
        <pc:spChg chg="add mod">
          <ac:chgData name="Vagnarelli, Alessio" userId="7630aed0-756e-42de-813a-0c9638cc0479" providerId="ADAL" clId="{586ADE1C-C4EE-44AD-8214-1D8CF33CAA1C}" dt="2025-09-12T09:39:47.413" v="1914" actId="1076"/>
          <ac:spMkLst>
            <pc:docMk/>
            <pc:sldMk cId="2664645208" sldId="953"/>
            <ac:spMk id="7" creationId="{41202A12-5B4D-2709-400A-F785D27ADAC8}"/>
          </ac:spMkLst>
        </pc:spChg>
        <pc:spChg chg="add del mod">
          <ac:chgData name="Vagnarelli, Alessio" userId="7630aed0-756e-42de-813a-0c9638cc0479" providerId="ADAL" clId="{586ADE1C-C4EE-44AD-8214-1D8CF33CAA1C}" dt="2025-09-11T11:58:26.964" v="702" actId="21"/>
          <ac:spMkLst>
            <pc:docMk/>
            <pc:sldMk cId="2664645208" sldId="953"/>
            <ac:spMk id="9" creationId="{A8433FA7-701D-AC5C-C881-BD15EA4CC90D}"/>
          </ac:spMkLst>
        </pc:spChg>
        <pc:spChg chg="add mod">
          <ac:chgData name="Vagnarelli, Alessio" userId="7630aed0-756e-42de-813a-0c9638cc0479" providerId="ADAL" clId="{586ADE1C-C4EE-44AD-8214-1D8CF33CAA1C}" dt="2025-09-12T09:39:50.975" v="1915" actId="1076"/>
          <ac:spMkLst>
            <pc:docMk/>
            <pc:sldMk cId="2664645208" sldId="953"/>
            <ac:spMk id="11" creationId="{D6889E70-2DA5-AF30-CBD9-765B7EF70364}"/>
          </ac:spMkLst>
        </pc:spChg>
      </pc:sldChg>
      <pc:sldChg chg="addSp delSp modSp add mod">
        <pc:chgData name="Vagnarelli, Alessio" userId="7630aed0-756e-42de-813a-0c9638cc0479" providerId="ADAL" clId="{586ADE1C-C4EE-44AD-8214-1D8CF33CAA1C}" dt="2025-09-22T11:04:26.232" v="2275" actId="6549"/>
        <pc:sldMkLst>
          <pc:docMk/>
          <pc:sldMk cId="1388151979" sldId="954"/>
        </pc:sldMkLst>
        <pc:spChg chg="mod">
          <ac:chgData name="Vagnarelli, Alessio" userId="7630aed0-756e-42de-813a-0c9638cc0479" providerId="ADAL" clId="{586ADE1C-C4EE-44AD-8214-1D8CF33CAA1C}" dt="2025-09-12T09:40:04.932" v="1916" actId="255"/>
          <ac:spMkLst>
            <pc:docMk/>
            <pc:sldMk cId="1388151979" sldId="954"/>
            <ac:spMk id="2" creationId="{382D5AE9-7CEF-7218-A6BB-FB19AF74390A}"/>
          </ac:spMkLst>
        </pc:spChg>
        <pc:spChg chg="add del mod">
          <ac:chgData name="Vagnarelli, Alessio" userId="7630aed0-756e-42de-813a-0c9638cc0479" providerId="ADAL" clId="{586ADE1C-C4EE-44AD-8214-1D8CF33CAA1C}" dt="2025-09-11T12:49:46.154" v="750" actId="21"/>
          <ac:spMkLst>
            <pc:docMk/>
            <pc:sldMk cId="1388151979" sldId="954"/>
            <ac:spMk id="4" creationId="{0F127C0B-2425-B6B3-F11A-126F6353329F}"/>
          </ac:spMkLst>
        </pc:spChg>
        <pc:spChg chg="mod">
          <ac:chgData name="Vagnarelli, Alessio" userId="7630aed0-756e-42de-813a-0c9638cc0479" providerId="ADAL" clId="{586ADE1C-C4EE-44AD-8214-1D8CF33CAA1C}" dt="2025-09-22T11:04:26.232" v="2275" actId="6549"/>
          <ac:spMkLst>
            <pc:docMk/>
            <pc:sldMk cId="1388151979" sldId="954"/>
            <ac:spMk id="5" creationId="{9EBB666A-D6FD-85CA-5426-A578F68FDA0E}"/>
          </ac:spMkLst>
        </pc:spChg>
        <pc:spChg chg="add mod">
          <ac:chgData name="Vagnarelli, Alessio" userId="7630aed0-756e-42de-813a-0c9638cc0479" providerId="ADAL" clId="{586ADE1C-C4EE-44AD-8214-1D8CF33CAA1C}" dt="2025-09-12T09:40:08.611" v="1917" actId="1076"/>
          <ac:spMkLst>
            <pc:docMk/>
            <pc:sldMk cId="1388151979" sldId="954"/>
            <ac:spMk id="7" creationId="{AFB3124A-74B9-A784-1572-ABAF03EBF716}"/>
          </ac:spMkLst>
        </pc:spChg>
      </pc:sldChg>
      <pc:sldChg chg="addSp delSp modSp add mod">
        <pc:chgData name="Vagnarelli, Alessio" userId="7630aed0-756e-42de-813a-0c9638cc0479" providerId="ADAL" clId="{586ADE1C-C4EE-44AD-8214-1D8CF33CAA1C}" dt="2025-09-22T11:04:32.233" v="2283" actId="6549"/>
        <pc:sldMkLst>
          <pc:docMk/>
          <pc:sldMk cId="247895638" sldId="955"/>
        </pc:sldMkLst>
        <pc:spChg chg="mod">
          <ac:chgData name="Vagnarelli, Alessio" userId="7630aed0-756e-42de-813a-0c9638cc0479" providerId="ADAL" clId="{586ADE1C-C4EE-44AD-8214-1D8CF33CAA1C}" dt="2025-09-12T09:40:18.035" v="1918" actId="255"/>
          <ac:spMkLst>
            <pc:docMk/>
            <pc:sldMk cId="247895638" sldId="955"/>
            <ac:spMk id="2" creationId="{382D5AE9-7CEF-7218-A6BB-FB19AF74390A}"/>
          </ac:spMkLst>
        </pc:spChg>
        <pc:spChg chg="add mod">
          <ac:chgData name="Vagnarelli, Alessio" userId="7630aed0-756e-42de-813a-0c9638cc0479" providerId="ADAL" clId="{586ADE1C-C4EE-44AD-8214-1D8CF33CAA1C}" dt="2025-09-12T09:40:24.644" v="1920" actId="255"/>
          <ac:spMkLst>
            <pc:docMk/>
            <pc:sldMk cId="247895638" sldId="955"/>
            <ac:spMk id="4" creationId="{E6CCFC3A-CA8B-B388-21E6-0053A3BB94FD}"/>
          </ac:spMkLst>
        </pc:spChg>
        <pc:spChg chg="mod">
          <ac:chgData name="Vagnarelli, Alessio" userId="7630aed0-756e-42de-813a-0c9638cc0479" providerId="ADAL" clId="{586ADE1C-C4EE-44AD-8214-1D8CF33CAA1C}" dt="2025-09-22T11:04:32.233" v="2283" actId="6549"/>
          <ac:spMkLst>
            <pc:docMk/>
            <pc:sldMk cId="247895638" sldId="955"/>
            <ac:spMk id="5" creationId="{9EBB666A-D6FD-85CA-5426-A578F68FDA0E}"/>
          </ac:spMkLst>
        </pc:spChg>
        <pc:spChg chg="add del mod">
          <ac:chgData name="Vagnarelli, Alessio" userId="7630aed0-756e-42de-813a-0c9638cc0479" providerId="ADAL" clId="{586ADE1C-C4EE-44AD-8214-1D8CF33CAA1C}" dt="2025-09-11T12:50:46.804" v="758" actId="21"/>
          <ac:spMkLst>
            <pc:docMk/>
            <pc:sldMk cId="247895638" sldId="955"/>
            <ac:spMk id="7" creationId="{41A90D1C-3AEB-BB65-13AF-AC65674ACE5A}"/>
          </ac:spMkLst>
        </pc:spChg>
        <pc:spChg chg="add mod">
          <ac:chgData name="Vagnarelli, Alessio" userId="7630aed0-756e-42de-813a-0c9638cc0479" providerId="ADAL" clId="{586ADE1C-C4EE-44AD-8214-1D8CF33CAA1C}" dt="2025-09-12T09:40:30.037" v="1922" actId="14100"/>
          <ac:spMkLst>
            <pc:docMk/>
            <pc:sldMk cId="247895638" sldId="955"/>
            <ac:spMk id="8" creationId="{0F127C0B-2425-B6B3-F11A-126F6353329F}"/>
          </ac:spMkLst>
        </pc:spChg>
      </pc:sldChg>
      <pc:sldChg chg="addSp modSp add mod">
        <pc:chgData name="Vagnarelli, Alessio" userId="7630aed0-756e-42de-813a-0c9638cc0479" providerId="ADAL" clId="{586ADE1C-C4EE-44AD-8214-1D8CF33CAA1C}" dt="2025-09-12T09:41:30.884" v="1932" actId="14100"/>
        <pc:sldMkLst>
          <pc:docMk/>
          <pc:sldMk cId="3247052445" sldId="956"/>
        </pc:sldMkLst>
        <pc:spChg chg="mod">
          <ac:chgData name="Vagnarelli, Alessio" userId="7630aed0-756e-42de-813a-0c9638cc0479" providerId="ADAL" clId="{586ADE1C-C4EE-44AD-8214-1D8CF33CAA1C}" dt="2025-09-12T09:40:52.870" v="1925" actId="255"/>
          <ac:spMkLst>
            <pc:docMk/>
            <pc:sldMk cId="3247052445" sldId="956"/>
            <ac:spMk id="2" creationId="{382D5AE9-7CEF-7218-A6BB-FB19AF74390A}"/>
          </ac:spMkLst>
        </pc:spChg>
        <pc:spChg chg="add mod">
          <ac:chgData name="Vagnarelli, Alessio" userId="7630aed0-756e-42de-813a-0c9638cc0479" providerId="ADAL" clId="{586ADE1C-C4EE-44AD-8214-1D8CF33CAA1C}" dt="2025-09-12T09:41:11.041" v="1928" actId="14100"/>
          <ac:spMkLst>
            <pc:docMk/>
            <pc:sldMk cId="3247052445" sldId="956"/>
            <ac:spMk id="4" creationId="{D1D81EA8-333E-E078-75CA-3BCCB2AEAFBF}"/>
          </ac:spMkLst>
        </pc:spChg>
        <pc:spChg chg="mod">
          <ac:chgData name="Vagnarelli, Alessio" userId="7630aed0-756e-42de-813a-0c9638cc0479" providerId="ADAL" clId="{586ADE1C-C4EE-44AD-8214-1D8CF33CAA1C}" dt="2025-09-11T12:58:53.438" v="802" actId="14100"/>
          <ac:spMkLst>
            <pc:docMk/>
            <pc:sldMk cId="3247052445" sldId="956"/>
            <ac:spMk id="5" creationId="{9EBB666A-D6FD-85CA-5426-A578F68FDA0E}"/>
          </ac:spMkLst>
        </pc:spChg>
        <pc:spChg chg="add mod">
          <ac:chgData name="Vagnarelli, Alessio" userId="7630aed0-756e-42de-813a-0c9638cc0479" providerId="ADAL" clId="{586ADE1C-C4EE-44AD-8214-1D8CF33CAA1C}" dt="2025-09-12T09:41:30.884" v="1932" actId="14100"/>
          <ac:spMkLst>
            <pc:docMk/>
            <pc:sldMk cId="3247052445" sldId="956"/>
            <ac:spMk id="7" creationId="{F12C8457-1FAF-E786-7C9A-BA453CBE2B1A}"/>
          </ac:spMkLst>
        </pc:spChg>
      </pc:sldChg>
      <pc:sldChg chg="addSp modSp add mod">
        <pc:chgData name="Vagnarelli, Alessio" userId="7630aed0-756e-42de-813a-0c9638cc0479" providerId="ADAL" clId="{586ADE1C-C4EE-44AD-8214-1D8CF33CAA1C}" dt="2025-09-22T11:04:44.282" v="2295" actId="6549"/>
        <pc:sldMkLst>
          <pc:docMk/>
          <pc:sldMk cId="1495026251" sldId="957"/>
        </pc:sldMkLst>
        <pc:spChg chg="mod">
          <ac:chgData name="Vagnarelli, Alessio" userId="7630aed0-756e-42de-813a-0c9638cc0479" providerId="ADAL" clId="{586ADE1C-C4EE-44AD-8214-1D8CF33CAA1C}" dt="2025-09-12T09:41:37.472" v="1933" actId="255"/>
          <ac:spMkLst>
            <pc:docMk/>
            <pc:sldMk cId="1495026251" sldId="957"/>
            <ac:spMk id="2" creationId="{382D5AE9-7CEF-7218-A6BB-FB19AF74390A}"/>
          </ac:spMkLst>
        </pc:spChg>
        <pc:spChg chg="add mod">
          <ac:chgData name="Vagnarelli, Alessio" userId="7630aed0-756e-42de-813a-0c9638cc0479" providerId="ADAL" clId="{586ADE1C-C4EE-44AD-8214-1D8CF33CAA1C}" dt="2025-09-12T09:41:49.727" v="1936" actId="255"/>
          <ac:spMkLst>
            <pc:docMk/>
            <pc:sldMk cId="1495026251" sldId="957"/>
            <ac:spMk id="4" creationId="{E5BA2A08-00D9-256B-EB6F-9E04E1D64947}"/>
          </ac:spMkLst>
        </pc:spChg>
        <pc:spChg chg="mod">
          <ac:chgData name="Vagnarelli, Alessio" userId="7630aed0-756e-42de-813a-0c9638cc0479" providerId="ADAL" clId="{586ADE1C-C4EE-44AD-8214-1D8CF33CAA1C}" dt="2025-09-22T11:04:44.282" v="2295" actId="6549"/>
          <ac:spMkLst>
            <pc:docMk/>
            <pc:sldMk cId="1495026251" sldId="957"/>
            <ac:spMk id="5" creationId="{9EBB666A-D6FD-85CA-5426-A578F68FDA0E}"/>
          </ac:spMkLst>
        </pc:spChg>
      </pc:sldChg>
      <pc:sldChg chg="modSp add del mod">
        <pc:chgData name="Vagnarelli, Alessio" userId="7630aed0-756e-42de-813a-0c9638cc0479" providerId="ADAL" clId="{586ADE1C-C4EE-44AD-8214-1D8CF33CAA1C}" dt="2025-09-11T11:56:58.435" v="695" actId="47"/>
        <pc:sldMkLst>
          <pc:docMk/>
          <pc:sldMk cId="1634082844" sldId="958"/>
        </pc:sldMkLst>
        <pc:spChg chg="mod">
          <ac:chgData name="Vagnarelli, Alessio" userId="7630aed0-756e-42de-813a-0c9638cc0479" providerId="ADAL" clId="{586ADE1C-C4EE-44AD-8214-1D8CF33CAA1C}" dt="2025-09-11T11:55:42.703" v="687" actId="14100"/>
          <ac:spMkLst>
            <pc:docMk/>
            <pc:sldMk cId="1634082844" sldId="958"/>
            <ac:spMk id="2" creationId="{382D5AE9-7CEF-7218-A6BB-FB19AF74390A}"/>
          </ac:spMkLst>
        </pc:spChg>
      </pc:sldChg>
      <pc:sldChg chg="modSp add del">
        <pc:chgData name="Vagnarelli, Alessio" userId="7630aed0-756e-42de-813a-0c9638cc0479" providerId="ADAL" clId="{586ADE1C-C4EE-44AD-8214-1D8CF33CAA1C}" dt="2025-09-11T11:57:35.881" v="701" actId="47"/>
        <pc:sldMkLst>
          <pc:docMk/>
          <pc:sldMk cId="3002993650" sldId="959"/>
        </pc:sldMkLst>
        <pc:spChg chg="mod">
          <ac:chgData name="Vagnarelli, Alessio" userId="7630aed0-756e-42de-813a-0c9638cc0479" providerId="ADAL" clId="{586ADE1C-C4EE-44AD-8214-1D8CF33CAA1C}" dt="2025-09-09T13:40:37.155" v="369" actId="6549"/>
          <ac:spMkLst>
            <pc:docMk/>
            <pc:sldMk cId="3002993650" sldId="959"/>
            <ac:spMk id="2" creationId="{382D5AE9-7CEF-7218-A6BB-FB19AF74390A}"/>
          </ac:spMkLst>
        </pc:spChg>
      </pc:sldChg>
      <pc:sldChg chg="modSp add del mod modAnim">
        <pc:chgData name="Vagnarelli, Alessio" userId="7630aed0-756e-42de-813a-0c9638cc0479" providerId="ADAL" clId="{586ADE1C-C4EE-44AD-8214-1D8CF33CAA1C}" dt="2025-09-11T12:59:46.380" v="814" actId="47"/>
        <pc:sldMkLst>
          <pc:docMk/>
          <pc:sldMk cId="1727251399" sldId="960"/>
        </pc:sldMkLst>
        <pc:spChg chg="mod">
          <ac:chgData name="Vagnarelli, Alessio" userId="7630aed0-756e-42de-813a-0c9638cc0479" providerId="ADAL" clId="{586ADE1C-C4EE-44AD-8214-1D8CF33CAA1C}" dt="2025-09-09T13:40:58.577" v="374" actId="6549"/>
          <ac:spMkLst>
            <pc:docMk/>
            <pc:sldMk cId="1727251399" sldId="960"/>
            <ac:spMk id="2" creationId="{382D5AE9-7CEF-7218-A6BB-FB19AF74390A}"/>
          </ac:spMkLst>
        </pc:spChg>
        <pc:spChg chg="mod">
          <ac:chgData name="Vagnarelli, Alessio" userId="7630aed0-756e-42de-813a-0c9638cc0479" providerId="ADAL" clId="{586ADE1C-C4EE-44AD-8214-1D8CF33CAA1C}" dt="2025-09-11T12:59:38.618" v="813" actId="14100"/>
          <ac:spMkLst>
            <pc:docMk/>
            <pc:sldMk cId="1727251399" sldId="960"/>
            <ac:spMk id="5" creationId="{9EBB666A-D6FD-85CA-5426-A578F68FDA0E}"/>
          </ac:spMkLst>
        </pc:spChg>
      </pc:sldChg>
      <pc:sldChg chg="modSp add del">
        <pc:chgData name="Vagnarelli, Alessio" userId="7630aed0-756e-42de-813a-0c9638cc0479" providerId="ADAL" clId="{586ADE1C-C4EE-44AD-8214-1D8CF33CAA1C}" dt="2025-09-11T13:00:15.505" v="815" actId="2696"/>
        <pc:sldMkLst>
          <pc:docMk/>
          <pc:sldMk cId="572067215" sldId="961"/>
        </pc:sldMkLst>
        <pc:spChg chg="mod">
          <ac:chgData name="Vagnarelli, Alessio" userId="7630aed0-756e-42de-813a-0c9638cc0479" providerId="ADAL" clId="{586ADE1C-C4EE-44AD-8214-1D8CF33CAA1C}" dt="2025-09-09T13:41:23.291" v="377" actId="6549"/>
          <ac:spMkLst>
            <pc:docMk/>
            <pc:sldMk cId="572067215" sldId="961"/>
            <ac:spMk id="2" creationId="{382D5AE9-7CEF-7218-A6BB-FB19AF74390A}"/>
          </ac:spMkLst>
        </pc:spChg>
      </pc:sldChg>
      <pc:sldChg chg="modSp add del modAnim">
        <pc:chgData name="Vagnarelli, Alessio" userId="7630aed0-756e-42de-813a-0c9638cc0479" providerId="ADAL" clId="{586ADE1C-C4EE-44AD-8214-1D8CF33CAA1C}" dt="2025-09-11T13:00:46.507" v="817" actId="47"/>
        <pc:sldMkLst>
          <pc:docMk/>
          <pc:sldMk cId="2749995396" sldId="962"/>
        </pc:sldMkLst>
        <pc:spChg chg="mod">
          <ac:chgData name="Vagnarelli, Alessio" userId="7630aed0-756e-42de-813a-0c9638cc0479" providerId="ADAL" clId="{586ADE1C-C4EE-44AD-8214-1D8CF33CAA1C}" dt="2025-09-09T13:41:45.167" v="382" actId="6549"/>
          <ac:spMkLst>
            <pc:docMk/>
            <pc:sldMk cId="2749995396" sldId="962"/>
            <ac:spMk id="2" creationId="{382D5AE9-7CEF-7218-A6BB-FB19AF74390A}"/>
          </ac:spMkLst>
        </pc:spChg>
      </pc:sldChg>
      <pc:sldChg chg="modSp add del">
        <pc:chgData name="Vagnarelli, Alessio" userId="7630aed0-756e-42de-813a-0c9638cc0479" providerId="ADAL" clId="{586ADE1C-C4EE-44AD-8214-1D8CF33CAA1C}" dt="2025-09-11T13:02:05.015" v="845" actId="47"/>
        <pc:sldMkLst>
          <pc:docMk/>
          <pc:sldMk cId="2610966276" sldId="963"/>
        </pc:sldMkLst>
        <pc:spChg chg="mod">
          <ac:chgData name="Vagnarelli, Alessio" userId="7630aed0-756e-42de-813a-0c9638cc0479" providerId="ADAL" clId="{586ADE1C-C4EE-44AD-8214-1D8CF33CAA1C}" dt="2025-09-09T13:41:55.546" v="385" actId="6549"/>
          <ac:spMkLst>
            <pc:docMk/>
            <pc:sldMk cId="2610966276" sldId="963"/>
            <ac:spMk id="2" creationId="{382D5AE9-7CEF-7218-A6BB-FB19AF74390A}"/>
          </ac:spMkLst>
        </pc:spChg>
      </pc:sldChg>
      <pc:sldChg chg="modSp add del">
        <pc:chgData name="Vagnarelli, Alessio" userId="7630aed0-756e-42de-813a-0c9638cc0479" providerId="ADAL" clId="{586ADE1C-C4EE-44AD-8214-1D8CF33CAA1C}" dt="2025-09-11T13:03:55.214" v="846" actId="47"/>
        <pc:sldMkLst>
          <pc:docMk/>
          <pc:sldMk cId="1167582541" sldId="964"/>
        </pc:sldMkLst>
        <pc:spChg chg="mod">
          <ac:chgData name="Vagnarelli, Alessio" userId="7630aed0-756e-42de-813a-0c9638cc0479" providerId="ADAL" clId="{586ADE1C-C4EE-44AD-8214-1D8CF33CAA1C}" dt="2025-09-09T13:41:59.254" v="386" actId="6549"/>
          <ac:spMkLst>
            <pc:docMk/>
            <pc:sldMk cId="1167582541" sldId="964"/>
            <ac:spMk id="2" creationId="{382D5AE9-7CEF-7218-A6BB-FB19AF74390A}"/>
          </ac:spMkLst>
        </pc:spChg>
      </pc:sldChg>
      <pc:sldChg chg="addSp modSp add mod">
        <pc:chgData name="Vagnarelli, Alessio" userId="7630aed0-756e-42de-813a-0c9638cc0479" providerId="ADAL" clId="{586ADE1C-C4EE-44AD-8214-1D8CF33CAA1C}" dt="2025-09-22T11:04:38.919" v="2289" actId="6549"/>
        <pc:sldMkLst>
          <pc:docMk/>
          <pc:sldMk cId="763394545" sldId="965"/>
        </pc:sldMkLst>
        <pc:spChg chg="mod">
          <ac:chgData name="Vagnarelli, Alessio" userId="7630aed0-756e-42de-813a-0c9638cc0479" providerId="ADAL" clId="{586ADE1C-C4EE-44AD-8214-1D8CF33CAA1C}" dt="2025-09-12T09:40:41.384" v="1923" actId="255"/>
          <ac:spMkLst>
            <pc:docMk/>
            <pc:sldMk cId="763394545" sldId="965"/>
            <ac:spMk id="2" creationId="{382D5AE9-7CEF-7218-A6BB-FB19AF74390A}"/>
          </ac:spMkLst>
        </pc:spChg>
        <pc:spChg chg="add mod">
          <ac:chgData name="Vagnarelli, Alessio" userId="7630aed0-756e-42de-813a-0c9638cc0479" providerId="ADAL" clId="{586ADE1C-C4EE-44AD-8214-1D8CF33CAA1C}" dt="2025-09-12T09:40:44.387" v="1924" actId="1076"/>
          <ac:spMkLst>
            <pc:docMk/>
            <pc:sldMk cId="763394545" sldId="965"/>
            <ac:spMk id="3" creationId="{D013464B-84C6-8EFB-F99B-13ABC0687B8B}"/>
          </ac:spMkLst>
        </pc:spChg>
        <pc:spChg chg="mod">
          <ac:chgData name="Vagnarelli, Alessio" userId="7630aed0-756e-42de-813a-0c9638cc0479" providerId="ADAL" clId="{586ADE1C-C4EE-44AD-8214-1D8CF33CAA1C}" dt="2025-09-22T11:04:38.919" v="2289" actId="6549"/>
          <ac:spMkLst>
            <pc:docMk/>
            <pc:sldMk cId="763394545" sldId="965"/>
            <ac:spMk id="5" creationId="{9EBB666A-D6FD-85CA-5426-A578F68FDA0E}"/>
          </ac:spMkLst>
        </pc:spChg>
      </pc:sldChg>
      <pc:sldChg chg="modSp add mod">
        <pc:chgData name="Vagnarelli, Alessio" userId="7630aed0-756e-42de-813a-0c9638cc0479" providerId="ADAL" clId="{586ADE1C-C4EE-44AD-8214-1D8CF33CAA1C}" dt="2025-09-12T09:42:17.723" v="1941" actId="14100"/>
        <pc:sldMkLst>
          <pc:docMk/>
          <pc:sldMk cId="1550884657" sldId="966"/>
        </pc:sldMkLst>
        <pc:spChg chg="mod">
          <ac:chgData name="Vagnarelli, Alessio" userId="7630aed0-756e-42de-813a-0c9638cc0479" providerId="ADAL" clId="{586ADE1C-C4EE-44AD-8214-1D8CF33CAA1C}" dt="2025-09-12T09:42:14.725" v="1940" actId="1076"/>
          <ac:spMkLst>
            <pc:docMk/>
            <pc:sldMk cId="1550884657" sldId="966"/>
            <ac:spMk id="2" creationId="{382D5AE9-7CEF-7218-A6BB-FB19AF74390A}"/>
          </ac:spMkLst>
        </pc:spChg>
        <pc:spChg chg="mod">
          <ac:chgData name="Vagnarelli, Alessio" userId="7630aed0-756e-42de-813a-0c9638cc0479" providerId="ADAL" clId="{586ADE1C-C4EE-44AD-8214-1D8CF33CAA1C}" dt="2025-09-12T09:42:17.723" v="1941" actId="14100"/>
          <ac:spMkLst>
            <pc:docMk/>
            <pc:sldMk cId="1550884657" sldId="966"/>
            <ac:spMk id="4" creationId="{E5BA2A08-00D9-256B-EB6F-9E04E1D64947}"/>
          </ac:spMkLst>
        </pc:spChg>
        <pc:spChg chg="mod">
          <ac:chgData name="Vagnarelli, Alessio" userId="7630aed0-756e-42de-813a-0c9638cc0479" providerId="ADAL" clId="{586ADE1C-C4EE-44AD-8214-1D8CF33CAA1C}" dt="2025-09-11T13:07:44.506" v="911" actId="6549"/>
          <ac:spMkLst>
            <pc:docMk/>
            <pc:sldMk cId="1550884657" sldId="966"/>
            <ac:spMk id="5" creationId="{9EBB666A-D6FD-85CA-5426-A578F68FDA0E}"/>
          </ac:spMkLst>
        </pc:spChg>
      </pc:sldChg>
      <pc:sldChg chg="modSp add del">
        <pc:chgData name="Vagnarelli, Alessio" userId="7630aed0-756e-42de-813a-0c9638cc0479" providerId="ADAL" clId="{586ADE1C-C4EE-44AD-8214-1D8CF33CAA1C}" dt="2025-09-11T13:43:23.632" v="1095" actId="47"/>
        <pc:sldMkLst>
          <pc:docMk/>
          <pc:sldMk cId="1675549455" sldId="967"/>
        </pc:sldMkLst>
        <pc:spChg chg="mod">
          <ac:chgData name="Vagnarelli, Alessio" userId="7630aed0-756e-42de-813a-0c9638cc0479" providerId="ADAL" clId="{586ADE1C-C4EE-44AD-8214-1D8CF33CAA1C}" dt="2025-09-11T13:15:47.943" v="986" actId="6549"/>
          <ac:spMkLst>
            <pc:docMk/>
            <pc:sldMk cId="1675549455" sldId="967"/>
            <ac:spMk id="8" creationId="{0467753E-7179-E4A4-D01A-FF33D932244B}"/>
          </ac:spMkLst>
        </pc:spChg>
      </pc:sldChg>
      <pc:sldChg chg="modSp add del mod modAnim">
        <pc:chgData name="Vagnarelli, Alessio" userId="7630aed0-756e-42de-813a-0c9638cc0479" providerId="ADAL" clId="{586ADE1C-C4EE-44AD-8214-1D8CF33CAA1C}" dt="2025-09-11T13:43:23.632" v="1095" actId="47"/>
        <pc:sldMkLst>
          <pc:docMk/>
          <pc:sldMk cId="3455668756" sldId="968"/>
        </pc:sldMkLst>
        <pc:spChg chg="mod">
          <ac:chgData name="Vagnarelli, Alessio" userId="7630aed0-756e-42de-813a-0c9638cc0479" providerId="ADAL" clId="{586ADE1C-C4EE-44AD-8214-1D8CF33CAA1C}" dt="2025-09-11T13:16:14.922" v="992" actId="6549"/>
          <ac:spMkLst>
            <pc:docMk/>
            <pc:sldMk cId="3455668756" sldId="968"/>
            <ac:spMk id="8" creationId="{0467753E-7179-E4A4-D01A-FF33D932244B}"/>
          </ac:spMkLst>
        </pc:spChg>
      </pc:sldChg>
      <pc:sldChg chg="modSp add del">
        <pc:chgData name="Vagnarelli, Alessio" userId="7630aed0-756e-42de-813a-0c9638cc0479" providerId="ADAL" clId="{586ADE1C-C4EE-44AD-8214-1D8CF33CAA1C}" dt="2025-09-11T13:43:23.632" v="1095" actId="47"/>
        <pc:sldMkLst>
          <pc:docMk/>
          <pc:sldMk cId="4047529732" sldId="969"/>
        </pc:sldMkLst>
        <pc:spChg chg="mod">
          <ac:chgData name="Vagnarelli, Alessio" userId="7630aed0-756e-42de-813a-0c9638cc0479" providerId="ADAL" clId="{586ADE1C-C4EE-44AD-8214-1D8CF33CAA1C}" dt="2025-09-11T13:16:37.165" v="997" actId="6549"/>
          <ac:spMkLst>
            <pc:docMk/>
            <pc:sldMk cId="4047529732" sldId="969"/>
            <ac:spMk id="8" creationId="{0467753E-7179-E4A4-D01A-FF33D932244B}"/>
          </ac:spMkLst>
        </pc:spChg>
      </pc:sldChg>
      <pc:sldChg chg="modSp add del">
        <pc:chgData name="Vagnarelli, Alessio" userId="7630aed0-756e-42de-813a-0c9638cc0479" providerId="ADAL" clId="{586ADE1C-C4EE-44AD-8214-1D8CF33CAA1C}" dt="2025-09-11T13:43:23.632" v="1095" actId="47"/>
        <pc:sldMkLst>
          <pc:docMk/>
          <pc:sldMk cId="2671865524" sldId="970"/>
        </pc:sldMkLst>
        <pc:spChg chg="mod">
          <ac:chgData name="Vagnarelli, Alessio" userId="7630aed0-756e-42de-813a-0c9638cc0479" providerId="ADAL" clId="{586ADE1C-C4EE-44AD-8214-1D8CF33CAA1C}" dt="2025-09-11T13:17:27.517" v="1000" actId="6549"/>
          <ac:spMkLst>
            <pc:docMk/>
            <pc:sldMk cId="2671865524" sldId="970"/>
            <ac:spMk id="8" creationId="{0467753E-7179-E4A4-D01A-FF33D932244B}"/>
          </ac:spMkLst>
        </pc:spChg>
      </pc:sldChg>
      <pc:sldChg chg="addSp delSp modSp add del mod delAnim">
        <pc:chgData name="Vagnarelli, Alessio" userId="7630aed0-756e-42de-813a-0c9638cc0479" providerId="ADAL" clId="{586ADE1C-C4EE-44AD-8214-1D8CF33CAA1C}" dt="2025-09-11T13:43:23.632" v="1095" actId="47"/>
        <pc:sldMkLst>
          <pc:docMk/>
          <pc:sldMk cId="8870820" sldId="971"/>
        </pc:sldMkLst>
        <pc:spChg chg="add mod">
          <ac:chgData name="Vagnarelli, Alessio" userId="7630aed0-756e-42de-813a-0c9638cc0479" providerId="ADAL" clId="{586ADE1C-C4EE-44AD-8214-1D8CF33CAA1C}" dt="2025-09-11T13:25:08.447" v="1023" actId="1076"/>
          <ac:spMkLst>
            <pc:docMk/>
            <pc:sldMk cId="8870820" sldId="971"/>
            <ac:spMk id="2" creationId="{4873F148-4BF4-D0F8-A643-4DDE9604853C}"/>
          </ac:spMkLst>
        </pc:spChg>
        <pc:spChg chg="del mod">
          <ac:chgData name="Vagnarelli, Alessio" userId="7630aed0-756e-42de-813a-0c9638cc0479" providerId="ADAL" clId="{586ADE1C-C4EE-44AD-8214-1D8CF33CAA1C}" dt="2025-09-11T13:23:55.845" v="1003" actId="21"/>
          <ac:spMkLst>
            <pc:docMk/>
            <pc:sldMk cId="8870820" sldId="971"/>
            <ac:spMk id="8" creationId="{0467753E-7179-E4A4-D01A-FF33D932244B}"/>
          </ac:spMkLst>
        </pc:spChg>
      </pc:sldChg>
      <pc:sldChg chg="addSp delSp modSp add mod">
        <pc:chgData name="Vagnarelli, Alessio" userId="7630aed0-756e-42de-813a-0c9638cc0479" providerId="ADAL" clId="{586ADE1C-C4EE-44AD-8214-1D8CF33CAA1C}" dt="2025-09-12T09:43:42.947" v="1953" actId="14100"/>
        <pc:sldMkLst>
          <pc:docMk/>
          <pc:sldMk cId="2301407564" sldId="972"/>
        </pc:sldMkLst>
        <pc:spChg chg="mod">
          <ac:chgData name="Vagnarelli, Alessio" userId="7630aed0-756e-42de-813a-0c9638cc0479" providerId="ADAL" clId="{586ADE1C-C4EE-44AD-8214-1D8CF33CAA1C}" dt="2025-09-11T13:39:48.703" v="1061" actId="14100"/>
          <ac:spMkLst>
            <pc:docMk/>
            <pc:sldMk cId="2301407564" sldId="972"/>
            <ac:spMk id="2" creationId="{00000000-0000-0000-0000-000000000000}"/>
          </ac:spMkLst>
        </pc:spChg>
        <pc:spChg chg="add mod">
          <ac:chgData name="Vagnarelli, Alessio" userId="7630aed0-756e-42de-813a-0c9638cc0479" providerId="ADAL" clId="{586ADE1C-C4EE-44AD-8214-1D8CF33CAA1C}" dt="2025-09-12T09:43:42.947" v="1953" actId="14100"/>
          <ac:spMkLst>
            <pc:docMk/>
            <pc:sldMk cId="2301407564" sldId="972"/>
            <ac:spMk id="3" creationId="{719670C5-0317-D1A9-857A-20FE59E4ED2B}"/>
          </ac:spMkLst>
        </pc:spChg>
        <pc:spChg chg="del">
          <ac:chgData name="Vagnarelli, Alessio" userId="7630aed0-756e-42de-813a-0c9638cc0479" providerId="ADAL" clId="{586ADE1C-C4EE-44AD-8214-1D8CF33CAA1C}" dt="2025-09-11T13:37:35.963" v="1044" actId="21"/>
          <ac:spMkLst>
            <pc:docMk/>
            <pc:sldMk cId="2301407564" sldId="972"/>
            <ac:spMk id="4" creationId="{4BE14CED-946E-ADBE-6CC4-EF4B42C2848D}"/>
          </ac:spMkLst>
        </pc:spChg>
      </pc:sldChg>
      <pc:sldChg chg="addSp delSp modSp add mod ord">
        <pc:chgData name="Vagnarelli, Alessio" userId="7630aed0-756e-42de-813a-0c9638cc0479" providerId="ADAL" clId="{586ADE1C-C4EE-44AD-8214-1D8CF33CAA1C}" dt="2025-09-12T09:43:38.284" v="1952" actId="14100"/>
        <pc:sldMkLst>
          <pc:docMk/>
          <pc:sldMk cId="2645824583" sldId="973"/>
        </pc:sldMkLst>
        <pc:spChg chg="del">
          <ac:chgData name="Vagnarelli, Alessio" userId="7630aed0-756e-42de-813a-0c9638cc0479" providerId="ADAL" clId="{586ADE1C-C4EE-44AD-8214-1D8CF33CAA1C}" dt="2025-09-11T13:41:23.651" v="1076" actId="21"/>
          <ac:spMkLst>
            <pc:docMk/>
            <pc:sldMk cId="2645824583" sldId="973"/>
            <ac:spMk id="2" creationId="{00000000-0000-0000-0000-000000000000}"/>
          </ac:spMkLst>
        </pc:spChg>
        <pc:spChg chg="mod">
          <ac:chgData name="Vagnarelli, Alessio" userId="7630aed0-756e-42de-813a-0c9638cc0479" providerId="ADAL" clId="{586ADE1C-C4EE-44AD-8214-1D8CF33CAA1C}" dt="2025-09-12T09:43:38.284" v="1952" actId="14100"/>
          <ac:spMkLst>
            <pc:docMk/>
            <pc:sldMk cId="2645824583" sldId="973"/>
            <ac:spMk id="3" creationId="{719670C5-0317-D1A9-857A-20FE59E4ED2B}"/>
          </ac:spMkLst>
        </pc:spChg>
        <pc:spChg chg="add mod">
          <ac:chgData name="Vagnarelli, Alessio" userId="7630aed0-756e-42de-813a-0c9638cc0479" providerId="ADAL" clId="{586ADE1C-C4EE-44AD-8214-1D8CF33CAA1C}" dt="2025-09-11T13:41:19.157" v="1075"/>
          <ac:spMkLst>
            <pc:docMk/>
            <pc:sldMk cId="2645824583" sldId="973"/>
            <ac:spMk id="4" creationId="{E564377F-E278-6AA6-C57F-0E23E38648F7}"/>
          </ac:spMkLst>
        </pc:spChg>
        <pc:spChg chg="add del mod">
          <ac:chgData name="Vagnarelli, Alessio" userId="7630aed0-756e-42de-813a-0c9638cc0479" providerId="ADAL" clId="{586ADE1C-C4EE-44AD-8214-1D8CF33CAA1C}" dt="2025-09-11T13:41:31.893" v="1077" actId="21"/>
          <ac:spMkLst>
            <pc:docMk/>
            <pc:sldMk cId="2645824583" sldId="973"/>
            <ac:spMk id="6" creationId="{DA270E51-60F5-E6D1-C571-F71EF7E64440}"/>
          </ac:spMkLst>
        </pc:spChg>
      </pc:sldChg>
      <pc:sldChg chg="addSp delSp modSp add mod">
        <pc:chgData name="Vagnarelli, Alessio" userId="7630aed0-756e-42de-813a-0c9638cc0479" providerId="ADAL" clId="{586ADE1C-C4EE-44AD-8214-1D8CF33CAA1C}" dt="2025-09-12T09:43:29.356" v="1951" actId="14100"/>
        <pc:sldMkLst>
          <pc:docMk/>
          <pc:sldMk cId="2445328380" sldId="974"/>
        </pc:sldMkLst>
        <pc:spChg chg="add mod">
          <ac:chgData name="Vagnarelli, Alessio" userId="7630aed0-756e-42de-813a-0c9638cc0479" providerId="ADAL" clId="{586ADE1C-C4EE-44AD-8214-1D8CF33CAA1C}" dt="2025-09-11T13:45:51.270" v="1100" actId="1076"/>
          <ac:spMkLst>
            <pc:docMk/>
            <pc:sldMk cId="2445328380" sldId="974"/>
            <ac:spMk id="2" creationId="{154CE578-C262-7030-BCD3-16DA60292C15}"/>
          </ac:spMkLst>
        </pc:spChg>
        <pc:spChg chg="del mod">
          <ac:chgData name="Vagnarelli, Alessio" userId="7630aed0-756e-42de-813a-0c9638cc0479" providerId="ADAL" clId="{586ADE1C-C4EE-44AD-8214-1D8CF33CAA1C}" dt="2025-09-11T13:45:57.929" v="1101" actId="21"/>
          <ac:spMkLst>
            <pc:docMk/>
            <pc:sldMk cId="2445328380" sldId="974"/>
            <ac:spMk id="3" creationId="{719670C5-0317-D1A9-857A-20FE59E4ED2B}"/>
          </ac:spMkLst>
        </pc:spChg>
        <pc:spChg chg="mod">
          <ac:chgData name="Vagnarelli, Alessio" userId="7630aed0-756e-42de-813a-0c9638cc0479" providerId="ADAL" clId="{586ADE1C-C4EE-44AD-8214-1D8CF33CAA1C}" dt="2025-09-11T14:13:48.653" v="1442" actId="1076"/>
          <ac:spMkLst>
            <pc:docMk/>
            <pc:sldMk cId="2445328380" sldId="974"/>
            <ac:spMk id="4" creationId="{E564377F-E278-6AA6-C57F-0E23E38648F7}"/>
          </ac:spMkLst>
        </pc:spChg>
        <pc:spChg chg="add mod">
          <ac:chgData name="Vagnarelli, Alessio" userId="7630aed0-756e-42de-813a-0c9638cc0479" providerId="ADAL" clId="{586ADE1C-C4EE-44AD-8214-1D8CF33CAA1C}" dt="2025-09-11T13:45:51.270" v="1100" actId="1076"/>
          <ac:spMkLst>
            <pc:docMk/>
            <pc:sldMk cId="2445328380" sldId="974"/>
            <ac:spMk id="5" creationId="{CA215569-4BCE-619B-4471-D451456D3887}"/>
          </ac:spMkLst>
        </pc:spChg>
        <pc:spChg chg="add mod">
          <ac:chgData name="Vagnarelli, Alessio" userId="7630aed0-756e-42de-813a-0c9638cc0479" providerId="ADAL" clId="{586ADE1C-C4EE-44AD-8214-1D8CF33CAA1C}" dt="2025-09-11T13:45:51.270" v="1100" actId="1076"/>
          <ac:spMkLst>
            <pc:docMk/>
            <pc:sldMk cId="2445328380" sldId="974"/>
            <ac:spMk id="6" creationId="{E0D6814E-17F3-007C-B777-1EBB3FAD21B8}"/>
          </ac:spMkLst>
        </pc:spChg>
        <pc:spChg chg="add mod">
          <ac:chgData name="Vagnarelli, Alessio" userId="7630aed0-756e-42de-813a-0c9638cc0479" providerId="ADAL" clId="{586ADE1C-C4EE-44AD-8214-1D8CF33CAA1C}" dt="2025-09-11T13:46:13.657" v="1104" actId="1076"/>
          <ac:spMkLst>
            <pc:docMk/>
            <pc:sldMk cId="2445328380" sldId="974"/>
            <ac:spMk id="7" creationId="{80102470-F64A-3AA9-BE54-00F69E6A8212}"/>
          </ac:spMkLst>
        </pc:spChg>
        <pc:spChg chg="add mod">
          <ac:chgData name="Vagnarelli, Alessio" userId="7630aed0-756e-42de-813a-0c9638cc0479" providerId="ADAL" clId="{586ADE1C-C4EE-44AD-8214-1D8CF33CAA1C}" dt="2025-09-11T13:46:13.657" v="1104" actId="1076"/>
          <ac:spMkLst>
            <pc:docMk/>
            <pc:sldMk cId="2445328380" sldId="974"/>
            <ac:spMk id="8" creationId="{BE85D774-E3B3-AAA4-16EC-280538FCBF14}"/>
          </ac:spMkLst>
        </pc:spChg>
        <pc:spChg chg="add mod">
          <ac:chgData name="Vagnarelli, Alessio" userId="7630aed0-756e-42de-813a-0c9638cc0479" providerId="ADAL" clId="{586ADE1C-C4EE-44AD-8214-1D8CF33CAA1C}" dt="2025-09-11T13:46:13.657" v="1104" actId="1076"/>
          <ac:spMkLst>
            <pc:docMk/>
            <pc:sldMk cId="2445328380" sldId="974"/>
            <ac:spMk id="9" creationId="{84A7C9C4-7E95-27C3-9040-1D4B0E44CD33}"/>
          </ac:spMkLst>
        </pc:spChg>
        <pc:spChg chg="add">
          <ac:chgData name="Vagnarelli, Alessio" userId="7630aed0-756e-42de-813a-0c9638cc0479" providerId="ADAL" clId="{586ADE1C-C4EE-44AD-8214-1D8CF33CAA1C}" dt="2025-09-11T13:49:09.543" v="1105"/>
          <ac:spMkLst>
            <pc:docMk/>
            <pc:sldMk cId="2445328380" sldId="974"/>
            <ac:spMk id="10" creationId="{B3CBD019-32AE-4B84-6455-29EC67BB6D0F}"/>
          </ac:spMkLst>
        </pc:spChg>
        <pc:spChg chg="add del mod">
          <ac:chgData name="Vagnarelli, Alessio" userId="7630aed0-756e-42de-813a-0c9638cc0479" providerId="ADAL" clId="{586ADE1C-C4EE-44AD-8214-1D8CF33CAA1C}" dt="2025-09-11T13:49:34.600" v="1108" actId="21"/>
          <ac:spMkLst>
            <pc:docMk/>
            <pc:sldMk cId="2445328380" sldId="974"/>
            <ac:spMk id="11" creationId="{C7DEEA86-0512-9E27-6EB7-73CA3D3D8EB8}"/>
          </ac:spMkLst>
        </pc:spChg>
        <pc:spChg chg="add">
          <ac:chgData name="Vagnarelli, Alessio" userId="7630aed0-756e-42de-813a-0c9638cc0479" providerId="ADAL" clId="{586ADE1C-C4EE-44AD-8214-1D8CF33CAA1C}" dt="2025-09-11T13:49:20.645" v="1107"/>
          <ac:spMkLst>
            <pc:docMk/>
            <pc:sldMk cId="2445328380" sldId="974"/>
            <ac:spMk id="12" creationId="{175E4354-77A1-841E-C261-600AAD3D3E22}"/>
          </ac:spMkLst>
        </pc:spChg>
        <pc:spChg chg="add mod">
          <ac:chgData name="Vagnarelli, Alessio" userId="7630aed0-756e-42de-813a-0c9638cc0479" providerId="ADAL" clId="{586ADE1C-C4EE-44AD-8214-1D8CF33CAA1C}" dt="2025-09-12T09:43:29.356" v="1951" actId="14100"/>
          <ac:spMkLst>
            <pc:docMk/>
            <pc:sldMk cId="2445328380" sldId="974"/>
            <ac:spMk id="13" creationId="{3ABE9599-D3BF-4F8F-B38D-0EFD9A050F60}"/>
          </ac:spMkLst>
        </pc:spChg>
      </pc:sldChg>
      <pc:sldChg chg="addSp delSp modSp add mod">
        <pc:chgData name="Vagnarelli, Alessio" userId="7630aed0-756e-42de-813a-0c9638cc0479" providerId="ADAL" clId="{586ADE1C-C4EE-44AD-8214-1D8CF33CAA1C}" dt="2025-09-12T09:44:08.189" v="1958" actId="123"/>
        <pc:sldMkLst>
          <pc:docMk/>
          <pc:sldMk cId="1409504690" sldId="975"/>
        </pc:sldMkLst>
        <pc:spChg chg="add mod">
          <ac:chgData name="Vagnarelli, Alessio" userId="7630aed0-756e-42de-813a-0c9638cc0479" providerId="ADAL" clId="{586ADE1C-C4EE-44AD-8214-1D8CF33CAA1C}" dt="2025-09-11T14:13:42.182" v="1441" actId="1076"/>
          <ac:spMkLst>
            <pc:docMk/>
            <pc:sldMk cId="1409504690" sldId="975"/>
            <ac:spMk id="2" creationId="{492229E7-E802-7BEE-0472-97472E569FA2}"/>
          </ac:spMkLst>
        </pc:spChg>
        <pc:spChg chg="del mod">
          <ac:chgData name="Vagnarelli, Alessio" userId="7630aed0-756e-42de-813a-0c9638cc0479" providerId="ADAL" clId="{586ADE1C-C4EE-44AD-8214-1D8CF33CAA1C}" dt="2025-09-11T14:13:39.030" v="1440" actId="21"/>
          <ac:spMkLst>
            <pc:docMk/>
            <pc:sldMk cId="1409504690" sldId="975"/>
            <ac:spMk id="4" creationId="{E564377F-E278-6AA6-C57F-0E23E38648F7}"/>
          </ac:spMkLst>
        </pc:spChg>
        <pc:spChg chg="mod">
          <ac:chgData name="Vagnarelli, Alessio" userId="7630aed0-756e-42de-813a-0c9638cc0479" providerId="ADAL" clId="{586ADE1C-C4EE-44AD-8214-1D8CF33CAA1C}" dt="2025-09-12T09:44:08.189" v="1958" actId="123"/>
          <ac:spMkLst>
            <pc:docMk/>
            <pc:sldMk cId="1409504690" sldId="975"/>
            <ac:spMk id="13" creationId="{3ABE9599-D3BF-4F8F-B38D-0EFD9A050F60}"/>
          </ac:spMkLst>
        </pc:spChg>
      </pc:sldChg>
      <pc:sldChg chg="addSp delSp modSp add del mod">
        <pc:chgData name="Vagnarelli, Alessio" userId="7630aed0-756e-42de-813a-0c9638cc0479" providerId="ADAL" clId="{586ADE1C-C4EE-44AD-8214-1D8CF33CAA1C}" dt="2025-09-11T14:17:01.288" v="1493" actId="47"/>
        <pc:sldMkLst>
          <pc:docMk/>
          <pc:sldMk cId="3110256485" sldId="976"/>
        </pc:sldMkLst>
        <pc:spChg chg="add mod">
          <ac:chgData name="Vagnarelli, Alessio" userId="7630aed0-756e-42de-813a-0c9638cc0479" providerId="ADAL" clId="{586ADE1C-C4EE-44AD-8214-1D8CF33CAA1C}" dt="2025-09-11T14:14:18.200" v="1447"/>
          <ac:spMkLst>
            <pc:docMk/>
            <pc:sldMk cId="3110256485" sldId="976"/>
            <ac:spMk id="2" creationId="{E564377F-E278-6AA6-C57F-0E23E38648F7}"/>
          </ac:spMkLst>
        </pc:spChg>
        <pc:spChg chg="add mod">
          <ac:chgData name="Vagnarelli, Alessio" userId="7630aed0-756e-42de-813a-0c9638cc0479" providerId="ADAL" clId="{586ADE1C-C4EE-44AD-8214-1D8CF33CAA1C}" dt="2025-09-11T14:14:37.028" v="1451" actId="1076"/>
          <ac:spMkLst>
            <pc:docMk/>
            <pc:sldMk cId="3110256485" sldId="976"/>
            <ac:spMk id="3" creationId="{C981B377-3739-249D-7A14-7DCCB884C704}"/>
          </ac:spMkLst>
        </pc:spChg>
        <pc:spChg chg="del mod">
          <ac:chgData name="Vagnarelli, Alessio" userId="7630aed0-756e-42de-813a-0c9638cc0479" providerId="ADAL" clId="{586ADE1C-C4EE-44AD-8214-1D8CF33CAA1C}" dt="2025-09-11T14:14:33.509" v="1450" actId="21"/>
          <ac:spMkLst>
            <pc:docMk/>
            <pc:sldMk cId="3110256485" sldId="976"/>
            <ac:spMk id="4" creationId="{E564377F-E278-6AA6-C57F-0E23E38648F7}"/>
          </ac:spMkLst>
        </pc:spChg>
        <pc:spChg chg="mod">
          <ac:chgData name="Vagnarelli, Alessio" userId="7630aed0-756e-42de-813a-0c9638cc0479" providerId="ADAL" clId="{586ADE1C-C4EE-44AD-8214-1D8CF33CAA1C}" dt="2025-09-11T14:08:34.949" v="1258" actId="20577"/>
          <ac:spMkLst>
            <pc:docMk/>
            <pc:sldMk cId="3110256485" sldId="976"/>
            <ac:spMk id="13" creationId="{3ABE9599-D3BF-4F8F-B38D-0EFD9A050F60}"/>
          </ac:spMkLst>
        </pc:spChg>
      </pc:sldChg>
      <pc:sldChg chg="addSp delSp modSp add mod">
        <pc:chgData name="Vagnarelli, Alessio" userId="7630aed0-756e-42de-813a-0c9638cc0479" providerId="ADAL" clId="{586ADE1C-C4EE-44AD-8214-1D8CF33CAA1C}" dt="2025-09-12T09:44:19.007" v="1961" actId="1076"/>
        <pc:sldMkLst>
          <pc:docMk/>
          <pc:sldMk cId="3726540915" sldId="977"/>
        </pc:sldMkLst>
        <pc:spChg chg="add mod">
          <ac:chgData name="Vagnarelli, Alessio" userId="7630aed0-756e-42de-813a-0c9638cc0479" providerId="ADAL" clId="{586ADE1C-C4EE-44AD-8214-1D8CF33CAA1C}" dt="2025-09-11T14:14:09.676" v="1446" actId="1076"/>
          <ac:spMkLst>
            <pc:docMk/>
            <pc:sldMk cId="3726540915" sldId="977"/>
            <ac:spMk id="2" creationId="{9D399F22-BE9A-675A-9B4E-95B31F94D756}"/>
          </ac:spMkLst>
        </pc:spChg>
        <pc:spChg chg="del mod">
          <ac:chgData name="Vagnarelli, Alessio" userId="7630aed0-756e-42de-813a-0c9638cc0479" providerId="ADAL" clId="{586ADE1C-C4EE-44AD-8214-1D8CF33CAA1C}" dt="2025-09-11T14:14:06.471" v="1445" actId="21"/>
          <ac:spMkLst>
            <pc:docMk/>
            <pc:sldMk cId="3726540915" sldId="977"/>
            <ac:spMk id="4" creationId="{E564377F-E278-6AA6-C57F-0E23E38648F7}"/>
          </ac:spMkLst>
        </pc:spChg>
        <pc:spChg chg="mod">
          <ac:chgData name="Vagnarelli, Alessio" userId="7630aed0-756e-42de-813a-0c9638cc0479" providerId="ADAL" clId="{586ADE1C-C4EE-44AD-8214-1D8CF33CAA1C}" dt="2025-09-12T09:44:19.007" v="1961" actId="1076"/>
          <ac:spMkLst>
            <pc:docMk/>
            <pc:sldMk cId="3726540915" sldId="977"/>
            <ac:spMk id="13" creationId="{3ABE9599-D3BF-4F8F-B38D-0EFD9A050F60}"/>
          </ac:spMkLst>
        </pc:spChg>
      </pc:sldChg>
      <pc:sldChg chg="addSp modSp add del mod ord">
        <pc:chgData name="Vagnarelli, Alessio" userId="7630aed0-756e-42de-813a-0c9638cc0479" providerId="ADAL" clId="{586ADE1C-C4EE-44AD-8214-1D8CF33CAA1C}" dt="2025-09-22T11:07:51.010" v="2296" actId="47"/>
        <pc:sldMkLst>
          <pc:docMk/>
          <pc:sldMk cId="31772484" sldId="978"/>
        </pc:sldMkLst>
        <pc:spChg chg="mod">
          <ac:chgData name="Vagnarelli, Alessio" userId="7630aed0-756e-42de-813a-0c9638cc0479" providerId="ADAL" clId="{586ADE1C-C4EE-44AD-8214-1D8CF33CAA1C}" dt="2025-09-12T09:49:10.717" v="2016" actId="20577"/>
          <ac:spMkLst>
            <pc:docMk/>
            <pc:sldMk cId="31772484" sldId="978"/>
            <ac:spMk id="3" creationId="{719670C5-0317-D1A9-857A-20FE59E4ED2B}"/>
          </ac:spMkLst>
        </pc:spChg>
        <pc:spChg chg="add mod">
          <ac:chgData name="Vagnarelli, Alessio" userId="7630aed0-756e-42de-813a-0c9638cc0479" providerId="ADAL" clId="{586ADE1C-C4EE-44AD-8214-1D8CF33CAA1C}" dt="2025-09-12T09:48:47.844" v="1999" actId="20577"/>
          <ac:spMkLst>
            <pc:docMk/>
            <pc:sldMk cId="31772484" sldId="978"/>
            <ac:spMk id="4" creationId="{22F7767A-3E78-11CF-0C54-897659BF797A}"/>
          </ac:spMkLst>
        </pc:spChg>
      </pc:sldChg>
      <pc:sldChg chg="addSp delSp modSp add del mod">
        <pc:chgData name="Vagnarelli, Alessio" userId="7630aed0-756e-42de-813a-0c9638cc0479" providerId="ADAL" clId="{586ADE1C-C4EE-44AD-8214-1D8CF33CAA1C}" dt="2025-09-11T14:17:02.513" v="1494" actId="47"/>
        <pc:sldMkLst>
          <pc:docMk/>
          <pc:sldMk cId="864899045" sldId="978"/>
        </pc:sldMkLst>
        <pc:spChg chg="add mod">
          <ac:chgData name="Vagnarelli, Alessio" userId="7630aed0-756e-42de-813a-0c9638cc0479" providerId="ADAL" clId="{586ADE1C-C4EE-44AD-8214-1D8CF33CAA1C}" dt="2025-09-11T14:14:52.021" v="1455" actId="1076"/>
          <ac:spMkLst>
            <pc:docMk/>
            <pc:sldMk cId="864899045" sldId="978"/>
            <ac:spMk id="2" creationId="{B1225DC9-BE6D-6566-3019-5F75FF94DE2C}"/>
          </ac:spMkLst>
        </pc:spChg>
        <pc:spChg chg="del mod">
          <ac:chgData name="Vagnarelli, Alessio" userId="7630aed0-756e-42de-813a-0c9638cc0479" providerId="ADAL" clId="{586ADE1C-C4EE-44AD-8214-1D8CF33CAA1C}" dt="2025-09-11T14:14:50.027" v="1454" actId="21"/>
          <ac:spMkLst>
            <pc:docMk/>
            <pc:sldMk cId="864899045" sldId="978"/>
            <ac:spMk id="4" creationId="{E564377F-E278-6AA6-C57F-0E23E38648F7}"/>
          </ac:spMkLst>
        </pc:spChg>
        <pc:spChg chg="mod">
          <ac:chgData name="Vagnarelli, Alessio" userId="7630aed0-756e-42de-813a-0c9638cc0479" providerId="ADAL" clId="{586ADE1C-C4EE-44AD-8214-1D8CF33CAA1C}" dt="2025-09-11T14:14:56.836" v="1464" actId="20577"/>
          <ac:spMkLst>
            <pc:docMk/>
            <pc:sldMk cId="864899045" sldId="978"/>
            <ac:spMk id="13" creationId="{3ABE9599-D3BF-4F8F-B38D-0EFD9A050F60}"/>
          </ac:spMkLst>
        </pc:spChg>
      </pc:sldChg>
      <pc:sldChg chg="addSp delSp modSp add del mod">
        <pc:chgData name="Vagnarelli, Alessio" userId="7630aed0-756e-42de-813a-0c9638cc0479" providerId="ADAL" clId="{586ADE1C-C4EE-44AD-8214-1D8CF33CAA1C}" dt="2025-09-11T14:17:03.313" v="1495" actId="47"/>
        <pc:sldMkLst>
          <pc:docMk/>
          <pc:sldMk cId="1983025338" sldId="979"/>
        </pc:sldMkLst>
        <pc:spChg chg="add mod">
          <ac:chgData name="Vagnarelli, Alessio" userId="7630aed0-756e-42de-813a-0c9638cc0479" providerId="ADAL" clId="{586ADE1C-C4EE-44AD-8214-1D8CF33CAA1C}" dt="2025-09-11T14:15:16.262" v="1468" actId="1076"/>
          <ac:spMkLst>
            <pc:docMk/>
            <pc:sldMk cId="1983025338" sldId="979"/>
            <ac:spMk id="2" creationId="{E4780641-DF9F-A13A-F120-0A68CFA275B7}"/>
          </ac:spMkLst>
        </pc:spChg>
        <pc:spChg chg="del mod">
          <ac:chgData name="Vagnarelli, Alessio" userId="7630aed0-756e-42de-813a-0c9638cc0479" providerId="ADAL" clId="{586ADE1C-C4EE-44AD-8214-1D8CF33CAA1C}" dt="2025-09-11T14:15:11.691" v="1467" actId="21"/>
          <ac:spMkLst>
            <pc:docMk/>
            <pc:sldMk cId="1983025338" sldId="979"/>
            <ac:spMk id="4" creationId="{E564377F-E278-6AA6-C57F-0E23E38648F7}"/>
          </ac:spMkLst>
        </pc:spChg>
        <pc:spChg chg="mod">
          <ac:chgData name="Vagnarelli, Alessio" userId="7630aed0-756e-42de-813a-0c9638cc0479" providerId="ADAL" clId="{586ADE1C-C4EE-44AD-8214-1D8CF33CAA1C}" dt="2025-09-11T14:08:14.341" v="1254" actId="14100"/>
          <ac:spMkLst>
            <pc:docMk/>
            <pc:sldMk cId="1983025338" sldId="979"/>
            <ac:spMk id="13" creationId="{3ABE9599-D3BF-4F8F-B38D-0EFD9A050F60}"/>
          </ac:spMkLst>
        </pc:spChg>
      </pc:sldChg>
      <pc:sldChg chg="modSp add mod modAnim">
        <pc:chgData name="Vagnarelli, Alessio" userId="7630aed0-756e-42de-813a-0c9638cc0479" providerId="ADAL" clId="{586ADE1C-C4EE-44AD-8214-1D8CF33CAA1C}" dt="2025-09-22T11:29:18.098" v="2542" actId="20577"/>
        <pc:sldMkLst>
          <pc:docMk/>
          <pc:sldMk cId="4135524897" sldId="979"/>
        </pc:sldMkLst>
        <pc:spChg chg="mod">
          <ac:chgData name="Vagnarelli, Alessio" userId="7630aed0-756e-42de-813a-0c9638cc0479" providerId="ADAL" clId="{586ADE1C-C4EE-44AD-8214-1D8CF33CAA1C}" dt="2025-09-22T11:29:18.098" v="2542" actId="20577"/>
          <ac:spMkLst>
            <pc:docMk/>
            <pc:sldMk cId="4135524897" sldId="979"/>
            <ac:spMk id="6" creationId="{31C4B402-8060-047D-D3C4-AA9E14EBA153}"/>
          </ac:spMkLst>
        </pc:spChg>
      </pc:sldChg>
      <pc:sldChg chg="modSp add del modAnim">
        <pc:chgData name="Vagnarelli, Alessio" userId="7630aed0-756e-42de-813a-0c9638cc0479" providerId="ADAL" clId="{586ADE1C-C4EE-44AD-8214-1D8CF33CAA1C}" dt="2025-09-22T11:17:33.449" v="2469" actId="47"/>
        <pc:sldMkLst>
          <pc:docMk/>
          <pc:sldMk cId="3089421655" sldId="980"/>
        </pc:sldMkLst>
        <pc:spChg chg="mod">
          <ac:chgData name="Vagnarelli, Alessio" userId="7630aed0-756e-42de-813a-0c9638cc0479" providerId="ADAL" clId="{586ADE1C-C4EE-44AD-8214-1D8CF33CAA1C}" dt="2025-09-22T11:16:41.484" v="2461" actId="6549"/>
          <ac:spMkLst>
            <pc:docMk/>
            <pc:sldMk cId="3089421655" sldId="980"/>
            <ac:spMk id="6" creationId="{31C4B402-8060-047D-D3C4-AA9E14EBA153}"/>
          </ac:spMkLst>
        </pc:spChg>
      </pc:sldChg>
      <pc:sldChg chg="modSp add del">
        <pc:chgData name="Vagnarelli, Alessio" userId="7630aed0-756e-42de-813a-0c9638cc0479" providerId="ADAL" clId="{586ADE1C-C4EE-44AD-8214-1D8CF33CAA1C}" dt="2025-09-22T11:17:42.823" v="2470" actId="47"/>
        <pc:sldMkLst>
          <pc:docMk/>
          <pc:sldMk cId="579680317" sldId="981"/>
        </pc:sldMkLst>
        <pc:spChg chg="mod">
          <ac:chgData name="Vagnarelli, Alessio" userId="7630aed0-756e-42de-813a-0c9638cc0479" providerId="ADAL" clId="{586ADE1C-C4EE-44AD-8214-1D8CF33CAA1C}" dt="2025-09-12T10:39:08.939" v="2211"/>
          <ac:spMkLst>
            <pc:docMk/>
            <pc:sldMk cId="579680317" sldId="981"/>
            <ac:spMk id="6" creationId="{31C4B402-8060-047D-D3C4-AA9E14EBA153}"/>
          </ac:spMkLst>
        </pc:spChg>
      </pc:sldChg>
      <pc:sldChg chg="modSp add del ord">
        <pc:chgData name="Vagnarelli, Alessio" userId="7630aed0-756e-42de-813a-0c9638cc0479" providerId="ADAL" clId="{586ADE1C-C4EE-44AD-8214-1D8CF33CAA1C}" dt="2025-09-22T11:27:22.611" v="2516" actId="47"/>
        <pc:sldMkLst>
          <pc:docMk/>
          <pc:sldMk cId="2845557586" sldId="982"/>
        </pc:sldMkLst>
        <pc:spChg chg="mod">
          <ac:chgData name="Vagnarelli, Alessio" userId="7630aed0-756e-42de-813a-0c9638cc0479" providerId="ADAL" clId="{586ADE1C-C4EE-44AD-8214-1D8CF33CAA1C}" dt="2025-09-22T11:17:24.606" v="2468" actId="6549"/>
          <ac:spMkLst>
            <pc:docMk/>
            <pc:sldMk cId="2845557586" sldId="982"/>
            <ac:spMk id="6" creationId="{31C4B402-8060-047D-D3C4-AA9E14EBA153}"/>
          </ac:spMkLst>
        </pc:spChg>
      </pc:sldChg>
      <pc:sldChg chg="addSp delSp modSp add mod ord delAnim modAnim">
        <pc:chgData name="Vagnarelli, Alessio" userId="7630aed0-756e-42de-813a-0c9638cc0479" providerId="ADAL" clId="{586ADE1C-C4EE-44AD-8214-1D8CF33CAA1C}" dt="2025-09-22T11:29:34.353" v="2543" actId="1076"/>
        <pc:sldMkLst>
          <pc:docMk/>
          <pc:sldMk cId="587295447" sldId="983"/>
        </pc:sldMkLst>
        <pc:spChg chg="mod">
          <ac:chgData name="Vagnarelli, Alessio" userId="7630aed0-756e-42de-813a-0c9638cc0479" providerId="ADAL" clId="{586ADE1C-C4EE-44AD-8214-1D8CF33CAA1C}" dt="2025-09-22T11:27:48.489" v="2523" actId="1076"/>
          <ac:spMkLst>
            <pc:docMk/>
            <pc:sldMk cId="587295447" sldId="983"/>
            <ac:spMk id="3" creationId="{533E9EA9-5C2C-3D70-14F9-65F716D50684}"/>
          </ac:spMkLst>
        </pc:spChg>
        <pc:spChg chg="add mod">
          <ac:chgData name="Vagnarelli, Alessio" userId="7630aed0-756e-42de-813a-0c9638cc0479" providerId="ADAL" clId="{586ADE1C-C4EE-44AD-8214-1D8CF33CAA1C}" dt="2025-09-22T11:29:34.353" v="2543" actId="1076"/>
          <ac:spMkLst>
            <pc:docMk/>
            <pc:sldMk cId="587295447" sldId="983"/>
            <ac:spMk id="4" creationId="{BA4BEF1B-144D-4D70-16F6-E2E5BB4D9112}"/>
          </ac:spMkLst>
        </pc:spChg>
        <pc:spChg chg="del">
          <ac:chgData name="Vagnarelli, Alessio" userId="7630aed0-756e-42de-813a-0c9638cc0479" providerId="ADAL" clId="{586ADE1C-C4EE-44AD-8214-1D8CF33CAA1C}" dt="2025-09-22T11:20:27.347" v="2487" actId="21"/>
          <ac:spMkLst>
            <pc:docMk/>
            <pc:sldMk cId="587295447" sldId="983"/>
            <ac:spMk id="6" creationId="{31C4B402-8060-047D-D3C4-AA9E14EBA153}"/>
          </ac:spMkLst>
        </pc:spChg>
        <pc:spChg chg="add del mod">
          <ac:chgData name="Vagnarelli, Alessio" userId="7630aed0-756e-42de-813a-0c9638cc0479" providerId="ADAL" clId="{586ADE1C-C4EE-44AD-8214-1D8CF33CAA1C}" dt="2025-09-22T11:22:03.411" v="2496" actId="21"/>
          <ac:spMkLst>
            <pc:docMk/>
            <pc:sldMk cId="587295447" sldId="983"/>
            <ac:spMk id="7" creationId="{ECB175C0-642E-D836-A938-161A5A604014}"/>
          </ac:spMkLst>
        </pc:spChg>
        <pc:spChg chg="add del mod">
          <ac:chgData name="Vagnarelli, Alessio" userId="7630aed0-756e-42de-813a-0c9638cc0479" providerId="ADAL" clId="{586ADE1C-C4EE-44AD-8214-1D8CF33CAA1C}" dt="2025-09-22T11:27:29.961" v="2518" actId="21"/>
          <ac:spMkLst>
            <pc:docMk/>
            <pc:sldMk cId="587295447" sldId="983"/>
            <ac:spMk id="8" creationId="{9CF97E9D-BD58-6C2F-E33F-2687E8DA0711}"/>
          </ac:spMkLst>
        </pc:spChg>
      </pc:sldChg>
      <pc:sldChg chg="delSp modSp add mod">
        <pc:chgData name="Vagnarelli, Alessio" userId="7630aed0-756e-42de-813a-0c9638cc0479" providerId="ADAL" clId="{586ADE1C-C4EE-44AD-8214-1D8CF33CAA1C}" dt="2025-09-22T11:27:42.009" v="2521" actId="1076"/>
        <pc:sldMkLst>
          <pc:docMk/>
          <pc:sldMk cId="3282425431" sldId="984"/>
        </pc:sldMkLst>
        <pc:spChg chg="del">
          <ac:chgData name="Vagnarelli, Alessio" userId="7630aed0-756e-42de-813a-0c9638cc0479" providerId="ADAL" clId="{586ADE1C-C4EE-44AD-8214-1D8CF33CAA1C}" dt="2025-09-22T11:27:34.335" v="2519" actId="21"/>
          <ac:spMkLst>
            <pc:docMk/>
            <pc:sldMk cId="3282425431" sldId="984"/>
            <ac:spMk id="3" creationId="{533E9EA9-5C2C-3D70-14F9-65F716D50684}"/>
          </ac:spMkLst>
        </pc:spChg>
        <pc:spChg chg="del">
          <ac:chgData name="Vagnarelli, Alessio" userId="7630aed0-756e-42de-813a-0c9638cc0479" providerId="ADAL" clId="{586ADE1C-C4EE-44AD-8214-1D8CF33CAA1C}" dt="2025-09-22T11:27:36.793" v="2520" actId="21"/>
          <ac:spMkLst>
            <pc:docMk/>
            <pc:sldMk cId="3282425431" sldId="984"/>
            <ac:spMk id="4" creationId="{BA4BEF1B-144D-4D70-16F6-E2E5BB4D9112}"/>
          </ac:spMkLst>
        </pc:spChg>
        <pc:spChg chg="mod">
          <ac:chgData name="Vagnarelli, Alessio" userId="7630aed0-756e-42de-813a-0c9638cc0479" providerId="ADAL" clId="{586ADE1C-C4EE-44AD-8214-1D8CF33CAA1C}" dt="2025-09-22T11:27:42.009" v="2521" actId="1076"/>
          <ac:spMkLst>
            <pc:docMk/>
            <pc:sldMk cId="3282425431" sldId="984"/>
            <ac:spMk id="8" creationId="{9CF97E9D-BD58-6C2F-E33F-2687E8DA0711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36B186-E47E-46FA-9C8A-21ED1389C872}" type="datetimeFigureOut">
              <a:rPr lang="en-US" smtClean="0"/>
              <a:t>11/1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312B04-C2E7-41C0-9E29-98FE93F75DF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688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920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395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1545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5207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7182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1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371131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6495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4281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6358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1">
            <a:extLst>
              <a:ext uri="{FF2B5EF4-FFF2-40B4-BE49-F238E27FC236}">
                <a16:creationId xmlns:a16="http://schemas.microsoft.com/office/drawing/2014/main" id="{FBB3512A-69D6-2345-931E-CD2AE04BDA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9900" y="254913"/>
            <a:ext cx="284937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udio Tributario </a:t>
            </a:r>
          </a:p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Societario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19D0A60-9BD4-C84B-824F-5E6068953F51}"/>
              </a:ext>
            </a:extLst>
          </p:cNvPr>
          <p:cNvGrpSpPr/>
          <p:nvPr userDrawn="1"/>
        </p:nvGrpSpPr>
        <p:grpSpPr>
          <a:xfrm>
            <a:off x="10519323" y="6282213"/>
            <a:ext cx="1211518" cy="23032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9DB3DCD2-131D-A94F-8D2C-511F2F286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B0D2A56-3D47-DD45-A36C-4E45A1E36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61DCE910-7E26-F34D-BD35-F38E5E381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DA9EF90-BA23-8641-98F4-FFECF80437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DB8D0237-34BA-554C-8EAB-F259E3081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005A7047-1BBE-7240-9DD1-AA3BA2DF48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3C3708E1-7C8E-4640-93EF-55902CD55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E13696D7-C9A6-F24F-9440-CCD62DBC9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FE5B29FB-CCB5-9744-BADD-39376E4D17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2EE128A7-BCDD-1746-8FF8-7ED63EACC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69597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A695DEC-E9CB-4EE6-B6A0-35EA322D267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56892DF-711C-4336-AEBF-762E1CB7CC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54BE607-CC12-452A-95BB-8AEB794BBE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7">
              <a:extLst>
                <a:ext uri="{FF2B5EF4-FFF2-40B4-BE49-F238E27FC236}">
                  <a16:creationId xmlns:a16="http://schemas.microsoft.com/office/drawing/2014/main" id="{AE06DD36-C381-4B3C-86D3-4123CCCA48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20BC03DC-7852-47B1-9820-005DEBD76B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9">
              <a:extLst>
                <a:ext uri="{FF2B5EF4-FFF2-40B4-BE49-F238E27FC236}">
                  <a16:creationId xmlns:a16="http://schemas.microsoft.com/office/drawing/2014/main" id="{07652C2F-A141-4AB0-9E2F-202CA0F5FB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10">
              <a:extLst>
                <a:ext uri="{FF2B5EF4-FFF2-40B4-BE49-F238E27FC236}">
                  <a16:creationId xmlns:a16="http://schemas.microsoft.com/office/drawing/2014/main" id="{5648F6A9-F4A7-4EA4-BEB8-6F1BB21E0F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1217BB3C-3B45-4FD5-A1F2-2A4B137E81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285CDEF-D8F9-4088-8EFE-11B02C6E1F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8B4FB454-2D1E-4839-87E0-3E961CBE46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95322F62-2CA7-4C72-BE20-8B93945A32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0" name="Title 1">
            <a:extLst>
              <a:ext uri="{FF2B5EF4-FFF2-40B4-BE49-F238E27FC236}">
                <a16:creationId xmlns:a16="http://schemas.microsoft.com/office/drawing/2014/main" id="{D9B25E43-ACA5-4BFC-98CD-B96634D5AD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332396"/>
            <a:ext cx="4446269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792356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1">
            <a:extLst>
              <a:ext uri="{FF2B5EF4-FFF2-40B4-BE49-F238E27FC236}">
                <a16:creationId xmlns:a16="http://schemas.microsoft.com/office/drawing/2014/main" id="{FBB3512A-69D6-2345-931E-CD2AE04BDA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9900" y="254913"/>
            <a:ext cx="284937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udio Tributario </a:t>
            </a:r>
          </a:p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Societario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19D0A60-9BD4-C84B-824F-5E6068953F51}"/>
              </a:ext>
            </a:extLst>
          </p:cNvPr>
          <p:cNvGrpSpPr/>
          <p:nvPr userDrawn="1"/>
        </p:nvGrpSpPr>
        <p:grpSpPr>
          <a:xfrm>
            <a:off x="10519323" y="6282213"/>
            <a:ext cx="1211518" cy="23032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9DB3DCD2-131D-A94F-8D2C-511F2F286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B0D2A56-3D47-DD45-A36C-4E45A1E36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61DCE910-7E26-F34D-BD35-F38E5E381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DA9EF90-BA23-8641-98F4-FFECF80437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DB8D0237-34BA-554C-8EAB-F259E3081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005A7047-1BBE-7240-9DD1-AA3BA2DF48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3C3708E1-7C8E-4640-93EF-55902CD55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E13696D7-C9A6-F24F-9440-CCD62DBC9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FE5B29FB-CCB5-9744-BADD-39376E4D17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2EE128A7-BCDD-1746-8FF8-7ED63EACC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55510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7532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1">
            <a:extLst>
              <a:ext uri="{FF2B5EF4-FFF2-40B4-BE49-F238E27FC236}">
                <a16:creationId xmlns:a16="http://schemas.microsoft.com/office/drawing/2014/main" id="{9D2576A3-C003-924D-8B2C-272BAA2933F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9900" y="254913"/>
            <a:ext cx="284937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udio Tributario </a:t>
            </a:r>
          </a:p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Societari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1173A43-AC2B-0342-8008-78A9546CDA1A}"/>
              </a:ext>
            </a:extLst>
          </p:cNvPr>
          <p:cNvGrpSpPr/>
          <p:nvPr userDrawn="1"/>
        </p:nvGrpSpPr>
        <p:grpSpPr>
          <a:xfrm>
            <a:off x="10519323" y="6284780"/>
            <a:ext cx="1211518" cy="23032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C823931F-0F2C-364E-833F-394AE3A11C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E2678C6-50A1-3643-A592-4F2649B46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C352BFED-A097-4847-A1ED-2D5799543B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9F5112E2-B2B8-0447-868C-CBF5DF9762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56A94D88-F576-CD4E-A5C4-0CE30FF2A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3A98CDDC-A13E-FF4F-8B4C-5B1603FED5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C49FE86E-7DDB-D848-BD8E-DE36F0F4D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66E0C6F0-3F92-3D4B-B40F-735371147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EE961048-B4DF-4040-B8ED-B4FCA3EA23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E54632CD-441C-C341-AA25-022FD91588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730638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5451A9-3E6A-4737-92D0-C9DAA534DA04}"/>
              </a:ext>
            </a:extLst>
          </p:cNvPr>
          <p:cNvCxnSpPr/>
          <p:nvPr userDrawn="1"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1">
            <a:extLst>
              <a:ext uri="{FF2B5EF4-FFF2-40B4-BE49-F238E27FC236}">
                <a16:creationId xmlns:a16="http://schemas.microsoft.com/office/drawing/2014/main" id="{876A2D23-DAF4-A64A-AF74-EEB4BF58BD2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9900" y="254913"/>
            <a:ext cx="284937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udio Tributario </a:t>
            </a:r>
          </a:p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Societario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C627193-DC9F-064B-9029-4D2CE80826A1}"/>
              </a:ext>
            </a:extLst>
          </p:cNvPr>
          <p:cNvGrpSpPr/>
          <p:nvPr userDrawn="1"/>
        </p:nvGrpSpPr>
        <p:grpSpPr>
          <a:xfrm>
            <a:off x="10519323" y="6284780"/>
            <a:ext cx="1211518" cy="23032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9AC054AA-5739-9F4D-A6F4-EA74FCEB84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FD8242C-59EF-DB48-A56B-AD27BA9F14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D2B04621-DAA8-784F-B2C2-0D562F7061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72B7D21-60E5-F84B-AAFE-F138509DFE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AD931533-292A-A74A-886B-D7A5A9FC7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179F8519-908F-CF46-AF94-96AF7585BA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15DFE3B2-1E6B-C74F-8943-473527564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7B5FC5B0-1B15-5C41-AE44-157B47089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861C9BB5-D021-BD44-8D30-569A7E5DD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EC2F16B3-FC10-F74E-894E-DCCE391038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15195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TextBox 21">
            <a:extLst>
              <a:ext uri="{FF2B5EF4-FFF2-40B4-BE49-F238E27FC236}">
                <a16:creationId xmlns:a16="http://schemas.microsoft.com/office/drawing/2014/main" id="{C0BA1443-905C-9846-8255-333A06CCB5B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9900" y="254913"/>
            <a:ext cx="284937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udio Tributario </a:t>
            </a:r>
          </a:p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Societari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9B000A5-D229-D747-9711-B7526439E63E}"/>
              </a:ext>
            </a:extLst>
          </p:cNvPr>
          <p:cNvGrpSpPr/>
          <p:nvPr userDrawn="1"/>
        </p:nvGrpSpPr>
        <p:grpSpPr>
          <a:xfrm>
            <a:off x="10519323" y="6282213"/>
            <a:ext cx="1211518" cy="23032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D243B35D-3213-5746-AA9C-D17CD3A21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00C42A1-E635-3A4A-8A4D-36CE204E5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1383EFBE-53C5-7A47-A541-0284B2129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6EF12FCB-B415-FB44-9E35-1A08B55FFA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6C1FBD0E-F3EE-954E-91D0-C288B4153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607FE13-9D7B-7549-B384-C76894627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D9ACF619-BEBA-2841-9694-673F8A645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4651D2C7-2242-4441-8339-EB59D7998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DCC73D88-62C2-DF43-85BB-650B56162A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FEB65596-C84B-E04C-BB5B-4F8863550F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374991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528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39A514A-409D-470C-AE9C-EFB16BDA8C83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5EC33-1574-4E3A-89DA-3EC00A69C870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49438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DC4A35C-6E5F-4D1C-8973-1C29CBAF765E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aseCode">
            <a:extLst>
              <a:ext uri="{FF2B5EF4-FFF2-40B4-BE49-F238E27FC236}">
                <a16:creationId xmlns:a16="http://schemas.microsoft.com/office/drawing/2014/main" id="{5B6818A1-3235-4413-9665-6D922B35C666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7CE22-99C8-4AA1-B80A-420B68B7E283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726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04AF6108-47E9-489A-A28A-88A6C754FB38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8980A458-ABD9-40B8-8C0D-269072CDB94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1386E3-7822-4155-91DC-3E38D96ED6CE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0354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84F29FA-0A46-4792-A45E-5DE1B223E09B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12BDD3ED-029E-4AC9-80CA-D3A2FBE9A5A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895299-9295-492F-8C31-9744F3FB7A06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1877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C93E963-CFD3-43A9-AE1B-F08B522B4130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791BE9BD-85F6-497E-A8D6-CBFF87927B15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538D13-8CB9-4EE1-BCA9-24557BC4F2B2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264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08E5BA7E-93C2-43A2-9267-44AEA65B95C5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015C4658-A753-4EFC-B4C9-8CC1413F742B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C3538D-DEF3-427C-A22B-D6DED4B4F939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23357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7145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42B478C9-B5DA-40CF-85B5-B8255333DF59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13465439-7954-4F6D-A5BA-2445764B064C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993EBE-E0B6-4868-AEFF-D7DAD2DDC7E4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7014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D9D178A5-CCC4-4A46-8C47-9A140D4A5CA1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70B3F7DA-818B-4D8B-B857-2D625878F36E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06B75E-593B-4DBE-A922-1C55C945A5EC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5200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A445E98-0101-4641-B761-F6EC62A4C1F9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E6546D8-000E-40B0-BE69-23BCCEC818E9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761B44-F344-440B-8939-9E878C81D0CA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50026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3460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411136"/>
      </p:ext>
    </p:extLst>
  </p:cSld>
  <p:clrMapOvr>
    <a:masterClrMapping/>
  </p:clrMapOvr>
  <p:transition>
    <p:fade/>
  </p:transition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00735346"/>
      </p:ext>
    </p:extLst>
  </p:cSld>
  <p:clrMapOvr>
    <a:masterClrMapping/>
  </p:clrMapOvr>
  <p:transition>
    <p:fade/>
  </p:transition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135867"/>
      </p:ext>
    </p:extLst>
  </p:cSld>
  <p:clrMapOvr>
    <a:masterClrMapping/>
  </p:clrMapOvr>
  <p:transition>
    <p:fade/>
  </p:transition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9291014"/>
      </p:ext>
    </p:extLst>
  </p:cSld>
  <p:clrMapOvr>
    <a:masterClrMapping/>
  </p:clrMapOvr>
  <p:transition>
    <p:fade/>
  </p:transition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010686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41343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11/11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43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726527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049940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70016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329431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5223285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3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0655303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6124859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5163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384122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296614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3921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602864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292016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8678794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 userDrawn="1"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 userDrawn="1"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 userDrawn="1"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96527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874587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6335184" y="6477002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501649" y="647700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536972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939561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BA2B33D3-3A83-514A-8FEC-05BC3C2506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9900" y="254913"/>
            <a:ext cx="284937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udio Tributario </a:t>
            </a:r>
          </a:p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Societario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FF98602-CB8D-C244-AB28-DC821CFBBC4D}"/>
              </a:ext>
            </a:extLst>
          </p:cNvPr>
          <p:cNvGrpSpPr/>
          <p:nvPr userDrawn="1"/>
        </p:nvGrpSpPr>
        <p:grpSpPr>
          <a:xfrm>
            <a:off x="10519323" y="6132380"/>
            <a:ext cx="1211518" cy="23032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>
              <a:extLst>
                <a:ext uri="{FF2B5EF4-FFF2-40B4-BE49-F238E27FC236}">
                  <a16:creationId xmlns:a16="http://schemas.microsoft.com/office/drawing/2014/main" id="{365FC668-96B2-DE4E-923F-A74A0C99BD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7DB3F7CF-B058-7A48-960B-E1F4D0D66F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8487B4A0-C75A-814C-96BC-1F9E31F69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64C46ED-648A-F145-BF21-968E95113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1CC2A185-E0DF-7849-B6DB-21DE4D2EB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B503FD7C-408B-564D-A9F4-6F01F1941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631ABEB6-6B76-3C47-91AC-64FE3D20C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ABE8CB0B-C5F9-9649-BBD1-E6B455369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1D740BA-5B6B-114F-BA46-51D3788BC0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7C768E1D-C0B7-B84E-AE04-D7CB145162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13564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21">
            <a:extLst>
              <a:ext uri="{FF2B5EF4-FFF2-40B4-BE49-F238E27FC236}">
                <a16:creationId xmlns:a16="http://schemas.microsoft.com/office/drawing/2014/main" id="{DEDACE6D-82C2-C543-A904-F0CC81A2561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9900" y="254913"/>
            <a:ext cx="284937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udio Tributario </a:t>
            </a:r>
          </a:p>
          <a:p>
            <a:pPr eaLnBrk="1" hangingPunct="1">
              <a:buSzPct val="100000"/>
              <a:buFont typeface="Arial" panose="020B0604020202020204" pitchFamily="34" charset="0"/>
              <a:buNone/>
              <a:defRPr/>
            </a:pPr>
            <a:r>
              <a:rPr lang="it-IT" altLang="it-IT" sz="28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Societario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3E5F0BD-A4A9-B243-9CC2-D078CABD0852}"/>
              </a:ext>
            </a:extLst>
          </p:cNvPr>
          <p:cNvGrpSpPr/>
          <p:nvPr userDrawn="1"/>
        </p:nvGrpSpPr>
        <p:grpSpPr>
          <a:xfrm>
            <a:off x="10519323" y="6132380"/>
            <a:ext cx="1211518" cy="23032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>
              <a:extLst>
                <a:ext uri="{FF2B5EF4-FFF2-40B4-BE49-F238E27FC236}">
                  <a16:creationId xmlns:a16="http://schemas.microsoft.com/office/drawing/2014/main" id="{134052C6-65CC-8844-8E46-99A97F469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E1257AD-E41A-914C-B1E9-B0C8B46F21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C0C0CBFA-16F6-EE4A-9021-F15196A18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4052AFFD-F3D4-CF4E-AEBD-45A0BB4C89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E80B4274-55D1-FE40-888B-DB766A3AC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6D162E5F-6124-4848-B99D-B9FE5E7CFA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34B36FDA-7A13-7748-8CDE-C1A6D4261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8C78D697-A5E0-E74C-A5AA-D05708937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7F4B66A0-A493-AF47-9A31-E92D4FC297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C00EAC05-A89F-D14D-86AB-849E066F84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668342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04957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3783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11/11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9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1/11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085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52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slideLayout" Target="../slideLayouts/slideLayout55.xml"/><Relationship Id="rId40" Type="http://schemas.openxmlformats.org/officeDocument/2006/relationships/slideLayout" Target="../slideLayouts/slideLayout58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slideLayout" Target="../slideLayouts/slideLayout53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51.xml"/><Relationship Id="rId38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1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508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850" r:id="rId18"/>
  </p:sldLayoutIdLst>
  <p:transition>
    <p:fade/>
  </p:transition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20642990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pyright"/>
          <p:cNvSpPr txBox="1"/>
          <p:nvPr/>
        </p:nvSpPr>
        <p:spPr>
          <a:xfrm>
            <a:off x="4572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it-IT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o Tributario e Societario - Deloitte Società tra Professionisti S.r.l.</a:t>
            </a:r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11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  <p:sldLayoutId id="2147483840" r:id="rId31"/>
    <p:sldLayoutId id="2147483841" r:id="rId32"/>
    <p:sldLayoutId id="2147483842" r:id="rId33"/>
    <p:sldLayoutId id="2147483843" r:id="rId34"/>
    <p:sldLayoutId id="2147483844" r:id="rId35"/>
    <p:sldLayoutId id="2147483845" r:id="rId36"/>
    <p:sldLayoutId id="2147483846" r:id="rId37"/>
    <p:sldLayoutId id="2147483847" r:id="rId38"/>
    <p:sldLayoutId id="2147483848" r:id="rId39"/>
    <p:sldLayoutId id="2147483849" r:id="rId40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6" Type="http://schemas.openxmlformats.org/officeDocument/2006/relationships/hyperlink" Target="http://www.deloitte.gr/" TargetMode="Externa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B800686-F7E9-AC45-93E0-B4CD76659A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0934" y="1322610"/>
            <a:ext cx="4244295" cy="4244295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DE5B9CEA-5E73-4E22-8C75-E8D43059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1" y="5699679"/>
            <a:ext cx="5532633" cy="515287"/>
          </a:xfrm>
        </p:spPr>
        <p:txBody>
          <a:bodyPr/>
          <a:lstStyle/>
          <a:p>
            <a:r>
              <a:rPr lang="en-US" dirty="0" err="1"/>
              <a:t>Unindustria</a:t>
            </a:r>
            <a:r>
              <a:rPr lang="en-US" dirty="0"/>
              <a:t> 11 </a:t>
            </a:r>
            <a:r>
              <a:rPr lang="en-US" dirty="0" err="1"/>
              <a:t>novembre</a:t>
            </a:r>
            <a:r>
              <a:rPr lang="en-US" dirty="0"/>
              <a:t> 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9138ED-0968-4032-A810-5D84ED6F3B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89992" y="156748"/>
            <a:ext cx="1098250" cy="109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ABE9599-D3BF-4F8F-B38D-0EFD9A050F60}"/>
              </a:ext>
            </a:extLst>
          </p:cNvPr>
          <p:cNvSpPr txBox="1"/>
          <p:nvPr/>
        </p:nvSpPr>
        <p:spPr>
          <a:xfrm>
            <a:off x="677334" y="1410970"/>
            <a:ext cx="889529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Al 1° dicembre 2023, 19 CCNL firmati da CGIL, CISL e UIL prevedono misure di welfare aziendale, rispetto ai 10 del 2021</a:t>
            </a:r>
          </a:p>
          <a:p>
            <a:endParaRPr lang="it-IT" sz="1400" dirty="0"/>
          </a:p>
          <a:p>
            <a:r>
              <a:rPr lang="it-IT" sz="1400" dirty="0"/>
              <a:t>Questi CCNL coprono circa 2,9 milioni di lavoratori e oltre 219.000 imprese in Italia</a:t>
            </a:r>
          </a:p>
          <a:p>
            <a:endParaRPr lang="it-IT" sz="1400" dirty="0"/>
          </a:p>
          <a:p>
            <a:r>
              <a:rPr lang="it-IT" sz="1400" dirty="0"/>
              <a:t>Il welfare contrattato interessa quasi il 20% dei dipendenti coperti da CCNL firmati dalle principali sigle sindacal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399F22-BE9A-675A-9B4E-95B31F94D756}"/>
              </a:ext>
            </a:extLst>
          </p:cNvPr>
          <p:cNvSpPr txBox="1">
            <a:spLocks/>
          </p:cNvSpPr>
          <p:nvPr/>
        </p:nvSpPr>
        <p:spPr>
          <a:xfrm>
            <a:off x="677334" y="46736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Diffusione del welfare nei CCNL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94183E-6093-13B0-C99E-22FA99F7C85F}"/>
              </a:ext>
            </a:extLst>
          </p:cNvPr>
          <p:cNvSpPr txBox="1"/>
          <p:nvPr/>
        </p:nvSpPr>
        <p:spPr>
          <a:xfrm>
            <a:off x="677334" y="3335258"/>
            <a:ext cx="889529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u="sng" dirty="0"/>
              <a:t>Settori e importi medi previsti</a:t>
            </a:r>
          </a:p>
          <a:p>
            <a:endParaRPr lang="it-IT" sz="1400" dirty="0"/>
          </a:p>
          <a:p>
            <a:r>
              <a:rPr lang="it-IT" sz="1400" dirty="0"/>
              <a:t>Settore metalmeccanico: oltre 1,5 milioni di dipendenti con welfare da circa 200 euro annui</a:t>
            </a:r>
          </a:p>
          <a:p>
            <a:endParaRPr lang="it-IT" sz="1400" dirty="0"/>
          </a:p>
          <a:p>
            <a:r>
              <a:rPr lang="it-IT" sz="1400" dirty="0"/>
              <a:t>Altri settori rilevanti: pubblici esercizi e turismo (circa 600.000 lavoratori), assicurazioni (fino a 1.000 euro annui), PMI metalmeccaniche, trasporti, servizi all’infanzia</a:t>
            </a:r>
          </a:p>
          <a:p>
            <a:endParaRPr lang="it-IT" sz="1400" dirty="0"/>
          </a:p>
          <a:p>
            <a:r>
              <a:rPr lang="it-IT" sz="1400" dirty="0"/>
              <a:t>Importi medi generalmente contenuti entro il limite fiscale di 258,23 euro (fringe benefit), con eccezione del settore assicurativo (700-1.000 euro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3DD133-C497-50F4-26C7-9ECA5A1739E4}"/>
              </a:ext>
            </a:extLst>
          </p:cNvPr>
          <p:cNvSpPr txBox="1"/>
          <p:nvPr/>
        </p:nvSpPr>
        <p:spPr>
          <a:xfrm>
            <a:off x="677334" y="5784334"/>
            <a:ext cx="86800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/>
              <a:t>(*fonte </a:t>
            </a:r>
            <a:r>
              <a:rPr lang="it-IT" sz="1400" dirty="0" err="1"/>
              <a:t>Secondowelfare</a:t>
            </a:r>
            <a:r>
              <a:rPr lang="it-IT" sz="1400" dirty="0"/>
              <a:t> «Contrattazione collettiva: quali sono i 19 CCNL che prevedono welfare aziendale» - </a:t>
            </a:r>
            <a:r>
              <a:rPr lang="en-US" sz="1400" dirty="0"/>
              <a:t>2 </a:t>
            </a:r>
            <a:r>
              <a:rPr lang="en-US" sz="1400" dirty="0" err="1"/>
              <a:t>gennaio</a:t>
            </a:r>
            <a:r>
              <a:rPr lang="en-US" sz="1400" dirty="0"/>
              <a:t> 2024</a:t>
            </a:r>
            <a:r>
              <a:rPr lang="it-IT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4765566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ABE9599-D3BF-4F8F-B38D-0EFD9A050F60}"/>
              </a:ext>
            </a:extLst>
          </p:cNvPr>
          <p:cNvSpPr txBox="1"/>
          <p:nvPr/>
        </p:nvSpPr>
        <p:spPr>
          <a:xfrm>
            <a:off x="635655" y="1106170"/>
            <a:ext cx="889529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u="sng" dirty="0"/>
              <a:t>Caratteristiche e criticità</a:t>
            </a:r>
          </a:p>
          <a:p>
            <a:endParaRPr lang="it-IT" sz="1400" dirty="0"/>
          </a:p>
          <a:p>
            <a:pPr algn="just"/>
            <a:r>
              <a:rPr lang="it-IT" sz="1400" dirty="0"/>
              <a:t>Welfare contrattato spesso limitato a buoni acquisto o carburante, rischiando di diventare mera compensazione retributiva anziché supporto sociale o assistenziale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Opportunità nei rinnovi contrattuali per superare queste soglie e ampliare il paniere di prestazioni (es. sostegno alla genitorialità, cura familiari, servizi sanitari, assicurazioni)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Necessità di una maggiore strutturazione del welfare aziendale per valorizzarne il potenziale sociale e motivazionale</a:t>
            </a:r>
          </a:p>
          <a:p>
            <a:pPr algn="just"/>
            <a:endParaRPr lang="it-IT" sz="1400" dirty="0"/>
          </a:p>
          <a:p>
            <a:r>
              <a:rPr lang="it-IT" sz="1400" b="1" u="sng" dirty="0"/>
              <a:t>Contesto e prospettive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Welfare come strumento di rinnovo e innovazione della contrattazione collettiva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Importanza di garantire rappresentatività sindacale per evitare dumping contrattuale e garantire condizioni eque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Welfare aziendale può essere leva per migliorare condizioni di lavoro e soddisfazione, in assenza di un salario minimo lega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399F22-BE9A-675A-9B4E-95B31F94D756}"/>
              </a:ext>
            </a:extLst>
          </p:cNvPr>
          <p:cNvSpPr txBox="1">
            <a:spLocks/>
          </p:cNvSpPr>
          <p:nvPr/>
        </p:nvSpPr>
        <p:spPr>
          <a:xfrm>
            <a:off x="677334" y="46736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Diffusione del welfare nei CCNL*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3DD133-C497-50F4-26C7-9ECA5A1739E4}"/>
              </a:ext>
            </a:extLst>
          </p:cNvPr>
          <p:cNvSpPr txBox="1"/>
          <p:nvPr/>
        </p:nvSpPr>
        <p:spPr>
          <a:xfrm>
            <a:off x="593976" y="5751830"/>
            <a:ext cx="86800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/>
              <a:t>(*fonte </a:t>
            </a:r>
            <a:r>
              <a:rPr lang="it-IT" sz="1400" dirty="0" err="1"/>
              <a:t>Secondowelfare</a:t>
            </a:r>
            <a:r>
              <a:rPr lang="it-IT" sz="1400" dirty="0"/>
              <a:t> «Contrattazione collettiva: quali sono i 19 CCNL che prevedono welfare aziendale» - </a:t>
            </a:r>
            <a:r>
              <a:rPr lang="en-US" sz="1400" dirty="0"/>
              <a:t>2 </a:t>
            </a:r>
            <a:r>
              <a:rPr lang="en-US" sz="1400" dirty="0" err="1"/>
              <a:t>gennaio</a:t>
            </a:r>
            <a:r>
              <a:rPr lang="en-US" sz="1400" dirty="0"/>
              <a:t> 2024</a:t>
            </a:r>
            <a:r>
              <a:rPr lang="it-IT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3577063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ABE9599-D3BF-4F8F-B38D-0EFD9A050F60}"/>
              </a:ext>
            </a:extLst>
          </p:cNvPr>
          <p:cNvSpPr txBox="1"/>
          <p:nvPr/>
        </p:nvSpPr>
        <p:spPr>
          <a:xfrm>
            <a:off x="635655" y="1106170"/>
            <a:ext cx="8895291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Es. CCNL Metalmeccanici Industria (Federmeccanica / </a:t>
            </a:r>
            <a:r>
              <a:rPr lang="it-IT" sz="1400" dirty="0" err="1"/>
              <a:t>Assistal</a:t>
            </a:r>
            <a:r>
              <a:rPr lang="it-IT" sz="1400" dirty="0"/>
              <a:t> – </a:t>
            </a:r>
            <a:r>
              <a:rPr lang="it-IT" sz="1400" dirty="0" err="1"/>
              <a:t>Fim</a:t>
            </a:r>
            <a:r>
              <a:rPr lang="it-IT" sz="1400" dirty="0"/>
              <a:t> CISL / Fiom CGIL / Uilm UIL)</a:t>
            </a:r>
          </a:p>
          <a:p>
            <a:r>
              <a:rPr lang="it-IT" sz="1400" dirty="0"/>
              <a:t>Art. 17 – Welfare</a:t>
            </a:r>
          </a:p>
          <a:p>
            <a:r>
              <a:rPr lang="it-IT" sz="1400" dirty="0"/>
              <a:t>«Entro il 1° giugno di ciascun anno le aziende dovranno mettere a disposizione dei lavoratori strumenti di welfare, elencati in via esemplificativa in calce al presente articolo, del valore di 200 euro da utilizzare entro il 31 maggio dell’anno successivo. I suddetti valori sono onnicomprensivi ed espressamente esclusi dalla base di calcolo del trattamento di fine rapporto. Hanno diritto a quanto sopra i lavoratori, superato il periodo di prova, in forza al 1° giugno di ciascun anno o successivamente assunti entro il 31 dicembre di ciascun anno:</a:t>
            </a:r>
          </a:p>
          <a:p>
            <a:r>
              <a:rPr lang="it-IT" sz="1400" dirty="0"/>
              <a:t>• con contratto a tempo indeterminato;</a:t>
            </a:r>
          </a:p>
          <a:p>
            <a:r>
              <a:rPr lang="it-IT" sz="1400" dirty="0"/>
              <a:t>• con contratto a tempo determinato che abbiano maturato almeno tre mesi, anche non consecutivi, di anzianità di servizio nel corso di ciascun anno (1 gennaio – 31 dicembre).</a:t>
            </a:r>
          </a:p>
          <a:p>
            <a:r>
              <a:rPr lang="it-IT" sz="1400" dirty="0"/>
              <a:t>Sono esclusi i lavoratori in aspettativa non retribuita né indennizzata nel periodo 1 giugno – 31 dicembre di ciascun anno.</a:t>
            </a:r>
          </a:p>
          <a:p>
            <a:r>
              <a:rPr lang="it-IT" sz="1400" dirty="0"/>
              <a:t>I suddetti valori non sono riproporzionabili per i lavoratori part-time e sono comprensivi esclusivamente di eventuali costi fiscali o contributivi a carico dell’azienda.» contrattometalmeccanici.it+2Welfare Group+2—Nota: questo è un ottimo “modello” perché la clausola è chiara: importo, tempi, destinatari, modalità. Puoi usarlo come riferimento di stile.2) CCNL Imprese di Assicurazione (ANIA) (ANIA / sindacati)Non ho reperito una clausola completa e pubblicamente libera del testo che specifichi al dettaglio importo e modalità (quantomeno nei risultati che ho consultato). Ad esempio, la mappatura segnala che per questo CCNL è previsto un importo compreso tra 700 e 1.000 € (in base al livello). Percorsi di Secondo </a:t>
            </a:r>
            <a:r>
              <a:rPr lang="it-IT" sz="1400" dirty="0" err="1"/>
              <a:t>WelfareQuindi</a:t>
            </a:r>
            <a:r>
              <a:rPr lang="it-IT" sz="1400" dirty="0"/>
              <a:t>:“Le imprese di assicurazione riconoscono ai lavoratori, in applicazione del CCNL, un contributo in strumenti di welfare aziendale per un importo variabile da 700 a 1.000 € annui in base al livello contrattuale”(Testo non ufficiale, da verificare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399F22-BE9A-675A-9B4E-95B31F94D756}"/>
              </a:ext>
            </a:extLst>
          </p:cNvPr>
          <p:cNvSpPr txBox="1">
            <a:spLocks/>
          </p:cNvSpPr>
          <p:nvPr/>
        </p:nvSpPr>
        <p:spPr>
          <a:xfrm>
            <a:off x="677334" y="46736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Diffusione del welfare nei CCNL</a:t>
            </a:r>
          </a:p>
        </p:txBody>
      </p:sp>
    </p:spTree>
    <p:extLst>
      <p:ext uri="{BB962C8B-B14F-4D97-AF65-F5344CB8AC3E}">
        <p14:creationId xmlns:p14="http://schemas.microsoft.com/office/powerpoint/2010/main" val="317170882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ABE9599-D3BF-4F8F-B38D-0EFD9A050F60}"/>
              </a:ext>
            </a:extLst>
          </p:cNvPr>
          <p:cNvSpPr txBox="1"/>
          <p:nvPr/>
        </p:nvSpPr>
        <p:spPr>
          <a:xfrm>
            <a:off x="635655" y="1106170"/>
            <a:ext cx="88952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Es. CCNL Metalmeccanici Industria (Federmeccanica / </a:t>
            </a:r>
            <a:r>
              <a:rPr lang="it-IT" sz="1400" dirty="0" err="1"/>
              <a:t>Assistal</a:t>
            </a:r>
            <a:r>
              <a:rPr lang="it-IT" sz="1400" dirty="0"/>
              <a:t> – </a:t>
            </a:r>
            <a:r>
              <a:rPr lang="it-IT" sz="1400" dirty="0" err="1"/>
              <a:t>Fim</a:t>
            </a:r>
            <a:r>
              <a:rPr lang="it-IT" sz="1400" dirty="0"/>
              <a:t> CISL / Fiom CGIL / Uilm UIL)</a:t>
            </a:r>
          </a:p>
          <a:p>
            <a:r>
              <a:rPr lang="it-IT" sz="1400" dirty="0"/>
              <a:t>Art. 17 – Welfare</a:t>
            </a:r>
          </a:p>
          <a:p>
            <a:pPr algn="just"/>
            <a:r>
              <a:rPr lang="it-IT" sz="1400" dirty="0"/>
              <a:t>«</a:t>
            </a:r>
            <a:r>
              <a:rPr lang="it-IT" sz="1400" i="1" dirty="0"/>
              <a:t>Entro il 1° giugno di ciascun anno le aziende dovranno mettere a disposizione dei lavoratori strumenti di welfare, elencati in via esemplificativa in calce al presente articolo, del valore di 200 euro da utilizzare entro il 31 maggio dell’anno successivo. I suddetti valori sono onnicomprensivi ed espressamente esclusi dalla base di calcolo del trattamento di fine rapporto. Hanno diritto a quanto sopra i lavoratori, superato il periodo di prova, in forza al 1° giugno di ciascun anno o successivamente assunti entro il 31 dicembre di ciascun anno:</a:t>
            </a:r>
          </a:p>
          <a:p>
            <a:pPr algn="just"/>
            <a:r>
              <a:rPr lang="it-IT" sz="1400" i="1" dirty="0"/>
              <a:t>• con contratto a tempo indeterminato;</a:t>
            </a:r>
          </a:p>
          <a:p>
            <a:pPr algn="just"/>
            <a:r>
              <a:rPr lang="it-IT" sz="1400" i="1" dirty="0"/>
              <a:t>• con contratto a tempo determinato che abbiano maturato almeno tre mesi, anche non consecutivi, di anzianità di servizio nel corso di ciascun anno (1 gennaio – 31 dicembre).</a:t>
            </a:r>
          </a:p>
          <a:p>
            <a:pPr algn="just"/>
            <a:r>
              <a:rPr lang="it-IT" sz="1400" i="1" dirty="0"/>
              <a:t>Sono esclusi i lavoratori in aspettativa non retribuita né indennizzata nel periodo 1 giugno – 31 dicembre di ciascun anno.</a:t>
            </a:r>
          </a:p>
          <a:p>
            <a:pPr algn="just"/>
            <a:r>
              <a:rPr lang="it-IT" sz="1400" i="1" dirty="0"/>
              <a:t>I suddetti valori non sono riproporzionabili per i lavoratori part-time e sono comprensivi esclusivamente di eventuali costi fiscali o contributivi a carico dell’azienda»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399F22-BE9A-675A-9B4E-95B31F94D756}"/>
              </a:ext>
            </a:extLst>
          </p:cNvPr>
          <p:cNvSpPr txBox="1">
            <a:spLocks/>
          </p:cNvSpPr>
          <p:nvPr/>
        </p:nvSpPr>
        <p:spPr>
          <a:xfrm>
            <a:off x="677334" y="46736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Diffusione del welfare nei CCNL</a:t>
            </a:r>
          </a:p>
        </p:txBody>
      </p:sp>
    </p:spTree>
    <p:extLst>
      <p:ext uri="{BB962C8B-B14F-4D97-AF65-F5344CB8AC3E}">
        <p14:creationId xmlns:p14="http://schemas.microsoft.com/office/powerpoint/2010/main" val="366236866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F30CAA7-981A-4A95-8E9C-EB17C724B66C}"/>
              </a:ext>
            </a:extLst>
          </p:cNvPr>
          <p:cNvSpPr txBox="1"/>
          <p:nvPr/>
        </p:nvSpPr>
        <p:spPr>
          <a:xfrm>
            <a:off x="5332491" y="959666"/>
            <a:ext cx="10683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zie!!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A2DB91F-F0E0-2E9F-B035-DD971A03A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582" y="1704582"/>
            <a:ext cx="7429001" cy="3826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34674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3A8AD-38C0-4854-81B3-9B99B4E007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42" y="5427098"/>
            <a:ext cx="10752738" cy="679062"/>
          </a:xfrm>
        </p:spPr>
        <p:txBody>
          <a:bodyPr/>
          <a:lstStyle/>
          <a:p>
            <a:pPr lvl="0" algn="just">
              <a:buSzPts val="1000"/>
              <a:tabLst>
                <a:tab pos="457200" algn="l"/>
              </a:tabLst>
            </a:pPr>
            <a:r>
              <a:rPr lang="it-IT" sz="1800" dirty="0">
                <a:solidFill>
                  <a:schemeClr val="bg1"/>
                </a:solidFill>
                <a:latin typeface="ArialMT"/>
              </a:rPr>
              <a:t>Sostituzione di componenti retributive con iniziative di Welfare aziendale</a:t>
            </a:r>
            <a:br>
              <a:rPr lang="it-IT" sz="1800" dirty="0">
                <a:solidFill>
                  <a:schemeClr val="bg1"/>
                </a:solidFill>
                <a:latin typeface="ArialMT"/>
              </a:rPr>
            </a:br>
            <a:r>
              <a:rPr lang="it-IT" sz="1800" dirty="0">
                <a:solidFill>
                  <a:schemeClr val="bg1"/>
                </a:solidFill>
                <a:latin typeface="ArialMT"/>
              </a:rPr>
              <a:t>Analisi e Implicazioni Fiscali alla luce degli interpelli </a:t>
            </a:r>
            <a:r>
              <a:rPr lang="it-IT" sz="1800">
                <a:solidFill>
                  <a:schemeClr val="bg1"/>
                </a:solidFill>
                <a:latin typeface="ArialMT"/>
              </a:rPr>
              <a:t>nn. </a:t>
            </a:r>
            <a:r>
              <a:rPr lang="it-IT" sz="1800" dirty="0">
                <a:solidFill>
                  <a:schemeClr val="bg1"/>
                </a:solidFill>
                <a:latin typeface="ArialMT"/>
              </a:rPr>
              <a:t>77/2025 e 195/2025</a:t>
            </a:r>
          </a:p>
        </p:txBody>
      </p:sp>
      <p:sp>
        <p:nvSpPr>
          <p:cNvPr id="8" name="Rectangle 7">
            <a:hlinkClick r:id="rId6"/>
          </p:cNvPr>
          <p:cNvSpPr/>
          <p:nvPr/>
        </p:nvSpPr>
        <p:spPr bwMode="gray">
          <a:xfrm>
            <a:off x="402942" y="369356"/>
            <a:ext cx="2174003" cy="554280"/>
          </a:xfrm>
          <a:prstGeom prst="rect">
            <a:avLst/>
          </a:prstGeom>
          <a:solidFill>
            <a:schemeClr val="bg1">
              <a:alpha val="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327673-1413-4DDD-9B6F-FD99E249528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4D9BF916-3C7B-4095-BACC-7408B7EC5F3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18263" y="1013917"/>
            <a:ext cx="4371703" cy="4371703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9561452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548640"/>
          </a:xfrm>
        </p:spPr>
        <p:txBody>
          <a:bodyPr>
            <a:normAutofit/>
          </a:bodyPr>
          <a:lstStyle/>
          <a:p>
            <a:r>
              <a:rPr lang="it-IT" sz="2400" dirty="0"/>
              <a:t>MBO → Welfare aziendale (Interpello n. 77/2025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7FD9ED-E2F4-90B3-26FF-53D1EC38899C}"/>
              </a:ext>
            </a:extLst>
          </p:cNvPr>
          <p:cNvSpPr txBox="1"/>
          <p:nvPr/>
        </p:nvSpPr>
        <p:spPr>
          <a:xfrm>
            <a:off x="677333" y="1158240"/>
            <a:ext cx="8895291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600" b="1">
                <a:solidFill>
                  <a:srgbClr val="003366"/>
                </a:solidFill>
              </a:defRPr>
            </a:pPr>
            <a:r>
              <a:rPr lang="it-IT" sz="1400" dirty="0">
                <a:solidFill>
                  <a:schemeClr val="tx2"/>
                </a:solidFill>
              </a:rPr>
              <a:t>Quesito: esclusione da reddito ex art. 51 TUIR della quota MBO convertita in welfare</a:t>
            </a: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lang="it-IT" sz="1400" dirty="0">
                <a:solidFill>
                  <a:schemeClr val="tx2"/>
                </a:solidFill>
              </a:rPr>
              <a:t>Destinazioni possibili: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1. Fondi pensione (lett. a)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2. Spese ricreative/educative (lett. f)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3. Istruzione e servizi scolastici (lett. f-bis)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4. Assistenza familiari non autosufficienti (lett. f-ter)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5. Abbonamenti trasporto pubblico (lett. d-bis)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6. Voucher beni/servizi fino a € 258,23 (c.3)</a:t>
            </a:r>
          </a:p>
          <a:p>
            <a:pPr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lang="it-IT" sz="1400" dirty="0">
                <a:solidFill>
                  <a:schemeClr val="tx2"/>
                </a:solidFill>
              </a:rPr>
              <a:t>Modalità operative: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• Versamento diretto al fondo pensione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• Rimborso spese (scuola, assistenza, trasporto)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• Voucher tramite catalogo fornitori</a:t>
            </a:r>
          </a:p>
          <a:p>
            <a:pPr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lang="it-IT" sz="1400" dirty="0">
                <a:solidFill>
                  <a:schemeClr val="tx2"/>
                </a:solidFill>
              </a:rPr>
              <a:t>Posizione istante: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• Esclusione valida anche per MBO premiali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• Focus su fidelizzazione e benessere (</a:t>
            </a:r>
            <a:r>
              <a:rPr lang="it-IT" sz="1400" dirty="0" err="1">
                <a:solidFill>
                  <a:schemeClr val="tx2"/>
                </a:solidFill>
              </a:rPr>
              <a:t>Risoluz</a:t>
            </a:r>
            <a:r>
              <a:rPr lang="it-IT" sz="1400" dirty="0">
                <a:solidFill>
                  <a:schemeClr val="tx2"/>
                </a:solidFill>
              </a:rPr>
              <a:t>. 55/E/2020)</a:t>
            </a:r>
          </a:p>
          <a:p>
            <a:pPr>
              <a:defRPr sz="1600"/>
            </a:pPr>
            <a:r>
              <a:rPr lang="it-IT" sz="1400" dirty="0">
                <a:solidFill>
                  <a:schemeClr val="tx2"/>
                </a:solidFill>
              </a:rPr>
              <a:t>   • Welfare offerto a generalità/categorie omogenee</a:t>
            </a:r>
          </a:p>
          <a:p>
            <a:pPr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lang="it-IT" sz="1400" dirty="0">
                <a:solidFill>
                  <a:schemeClr val="tx2"/>
                </a:solidFill>
              </a:rPr>
              <a:t>Conclusione: richiesta conferma esclusione fiscale e contributiva ex art. 51 TUIR</a:t>
            </a:r>
          </a:p>
        </p:txBody>
      </p:sp>
    </p:spTree>
    <p:extLst>
      <p:ext uri="{BB962C8B-B14F-4D97-AF65-F5344CB8AC3E}">
        <p14:creationId xmlns:p14="http://schemas.microsoft.com/office/powerpoint/2010/main" val="40118418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528320"/>
          </a:xfrm>
        </p:spPr>
        <p:txBody>
          <a:bodyPr/>
          <a:lstStyle/>
          <a:p>
            <a:r>
              <a:rPr lang="it-IT" sz="2400" dirty="0"/>
              <a:t>MBO → Welfare aziendale (Interpello n. 77/2025)</a:t>
            </a:r>
            <a:endParaRPr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E14CED-946E-ADBE-6CC4-EF4B42C2848D}"/>
              </a:ext>
            </a:extLst>
          </p:cNvPr>
          <p:cNvSpPr txBox="1"/>
          <p:nvPr/>
        </p:nvSpPr>
        <p:spPr>
          <a:xfrm>
            <a:off x="677334" y="1137920"/>
            <a:ext cx="8904816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600" b="1">
                <a:solidFill>
                  <a:srgbClr val="003366"/>
                </a:solidFill>
              </a:defRPr>
            </a:pPr>
            <a:r>
              <a:rPr lang="it-IT" sz="1400" dirty="0">
                <a:solidFill>
                  <a:schemeClr val="tx2"/>
                </a:solidFill>
              </a:rPr>
              <a:t>Soggetti coinvolti</a:t>
            </a:r>
            <a:r>
              <a:rPr sz="1400" dirty="0">
                <a:solidFill>
                  <a:schemeClr val="tx2"/>
                </a:solidFill>
              </a:rPr>
              <a:t>: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61% Quadri (target → 80% </a:t>
            </a:r>
            <a:r>
              <a:rPr sz="1400" dirty="0" err="1">
                <a:solidFill>
                  <a:schemeClr val="tx2"/>
                </a:solidFill>
              </a:rPr>
              <a:t>nel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biennio</a:t>
            </a:r>
            <a:r>
              <a:rPr sz="1400" dirty="0">
                <a:solidFill>
                  <a:schemeClr val="tx2"/>
                </a:solidFill>
              </a:rPr>
              <a:t>)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3% </a:t>
            </a:r>
            <a:r>
              <a:rPr sz="1400" dirty="0" err="1">
                <a:solidFill>
                  <a:schemeClr val="tx2"/>
                </a:solidFill>
              </a:rPr>
              <a:t>Impiegati</a:t>
            </a:r>
            <a:endParaRPr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Criteri</a:t>
            </a:r>
            <a:r>
              <a:rPr sz="1400" dirty="0">
                <a:solidFill>
                  <a:schemeClr val="tx2"/>
                </a:solidFill>
              </a:rPr>
              <a:t> di </a:t>
            </a:r>
            <a:r>
              <a:rPr sz="1400" dirty="0" err="1">
                <a:solidFill>
                  <a:schemeClr val="tx2"/>
                </a:solidFill>
              </a:rPr>
              <a:t>inclusione</a:t>
            </a:r>
            <a:r>
              <a:rPr sz="1400" dirty="0">
                <a:solidFill>
                  <a:schemeClr val="tx2"/>
                </a:solidFill>
              </a:rPr>
              <a:t>: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Mansione</a:t>
            </a:r>
            <a:r>
              <a:rPr sz="1400" dirty="0">
                <a:solidFill>
                  <a:schemeClr val="tx2"/>
                </a:solidFill>
              </a:rPr>
              <a:t> (</a:t>
            </a:r>
            <a:r>
              <a:rPr sz="1400" dirty="0" err="1">
                <a:solidFill>
                  <a:schemeClr val="tx2"/>
                </a:solidFill>
              </a:rPr>
              <a:t>complessità</a:t>
            </a:r>
            <a:r>
              <a:rPr sz="1400" dirty="0">
                <a:solidFill>
                  <a:schemeClr val="tx2"/>
                </a:solidFill>
              </a:rPr>
              <a:t>, </a:t>
            </a:r>
            <a:r>
              <a:rPr sz="1400" dirty="0" err="1">
                <a:solidFill>
                  <a:schemeClr val="tx2"/>
                </a:solidFill>
              </a:rPr>
              <a:t>responsabilità</a:t>
            </a:r>
            <a:r>
              <a:rPr sz="1400" dirty="0">
                <a:solidFill>
                  <a:schemeClr val="tx2"/>
                </a:solidFill>
              </a:rPr>
              <a:t>, </a:t>
            </a:r>
            <a:r>
              <a:rPr sz="1400" dirty="0" err="1">
                <a:solidFill>
                  <a:schemeClr val="tx2"/>
                </a:solidFill>
              </a:rPr>
              <a:t>ambito</a:t>
            </a:r>
            <a:r>
              <a:rPr sz="1400" dirty="0">
                <a:solidFill>
                  <a:schemeClr val="tx2"/>
                </a:solidFill>
              </a:rPr>
              <a:t>)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Collocazione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organizzativa</a:t>
            </a:r>
            <a:endParaRPr sz="1400" dirty="0">
              <a:solidFill>
                <a:schemeClr val="tx2"/>
              </a:solidFill>
            </a:endParaRP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Valutazione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manageriale</a:t>
            </a:r>
            <a:endParaRPr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Caratteristiche</a:t>
            </a:r>
            <a:r>
              <a:rPr sz="1400" dirty="0">
                <a:solidFill>
                  <a:schemeClr val="tx2"/>
                </a:solidFill>
              </a:rPr>
              <a:t> MBO: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Obiettiv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collettivi</a:t>
            </a:r>
            <a:r>
              <a:rPr sz="1400" dirty="0">
                <a:solidFill>
                  <a:schemeClr val="tx2"/>
                </a:solidFill>
              </a:rPr>
              <a:t> (</a:t>
            </a:r>
            <a:r>
              <a:rPr sz="1400" dirty="0" err="1">
                <a:solidFill>
                  <a:schemeClr val="tx2"/>
                </a:solidFill>
              </a:rPr>
              <a:t>redditività</a:t>
            </a:r>
            <a:r>
              <a:rPr sz="1400" dirty="0">
                <a:solidFill>
                  <a:schemeClr val="tx2"/>
                </a:solidFill>
              </a:rPr>
              <a:t> Gruppo/</a:t>
            </a:r>
            <a:r>
              <a:rPr sz="1400" dirty="0" err="1">
                <a:solidFill>
                  <a:schemeClr val="tx2"/>
                </a:solidFill>
              </a:rPr>
              <a:t>società</a:t>
            </a:r>
            <a:r>
              <a:rPr sz="1400" dirty="0">
                <a:solidFill>
                  <a:schemeClr val="tx2"/>
                </a:solidFill>
              </a:rPr>
              <a:t>)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Obiettiv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individuali</a:t>
            </a:r>
            <a:r>
              <a:rPr sz="1400" dirty="0">
                <a:solidFill>
                  <a:schemeClr val="tx2"/>
                </a:solidFill>
              </a:rPr>
              <a:t> (</a:t>
            </a:r>
            <a:r>
              <a:rPr sz="1400" dirty="0" err="1">
                <a:solidFill>
                  <a:schemeClr val="tx2"/>
                </a:solidFill>
              </a:rPr>
              <a:t>mansione</a:t>
            </a:r>
            <a:r>
              <a:rPr sz="1400" dirty="0">
                <a:solidFill>
                  <a:schemeClr val="tx2"/>
                </a:solidFill>
              </a:rPr>
              <a:t>, </a:t>
            </a:r>
            <a:r>
              <a:rPr sz="1400" dirty="0" err="1">
                <a:solidFill>
                  <a:schemeClr val="tx2"/>
                </a:solidFill>
              </a:rPr>
              <a:t>progetti</a:t>
            </a:r>
            <a:r>
              <a:rPr sz="1400" dirty="0">
                <a:solidFill>
                  <a:schemeClr val="tx2"/>
                </a:solidFill>
              </a:rPr>
              <a:t>)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Regola</a:t>
            </a:r>
            <a:r>
              <a:rPr sz="1400" dirty="0">
                <a:solidFill>
                  <a:schemeClr val="tx2"/>
                </a:solidFill>
              </a:rPr>
              <a:t> Bonus Pool: </a:t>
            </a:r>
            <a:r>
              <a:rPr sz="1400" dirty="0" err="1">
                <a:solidFill>
                  <a:schemeClr val="tx2"/>
                </a:solidFill>
              </a:rPr>
              <a:t>Incentivo</a:t>
            </a:r>
            <a:r>
              <a:rPr sz="1400" dirty="0">
                <a:solidFill>
                  <a:schemeClr val="tx2"/>
                </a:solidFill>
              </a:rPr>
              <a:t> = </a:t>
            </a:r>
            <a:r>
              <a:rPr sz="1400" dirty="0" err="1">
                <a:solidFill>
                  <a:schemeClr val="tx2"/>
                </a:solidFill>
              </a:rPr>
              <a:t>Fattore</a:t>
            </a:r>
            <a:r>
              <a:rPr sz="1400" dirty="0">
                <a:solidFill>
                  <a:schemeClr val="tx2"/>
                </a:solidFill>
              </a:rPr>
              <a:t> EBITDA × Target MBO × % fascia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Target MBO = 10–15% RAL (</a:t>
            </a:r>
            <a:r>
              <a:rPr sz="1400" dirty="0" err="1">
                <a:solidFill>
                  <a:schemeClr val="tx2"/>
                </a:solidFill>
              </a:rPr>
              <a:t>formalizzato</a:t>
            </a:r>
            <a:r>
              <a:rPr sz="1400" dirty="0">
                <a:solidFill>
                  <a:schemeClr val="tx2"/>
                </a:solidFill>
              </a:rPr>
              <a:t> con </a:t>
            </a:r>
            <a:r>
              <a:rPr sz="1400" dirty="0" err="1">
                <a:solidFill>
                  <a:schemeClr val="tx2"/>
                </a:solidFill>
              </a:rPr>
              <a:t>letter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individuale</a:t>
            </a:r>
            <a:r>
              <a:rPr sz="1400" dirty="0">
                <a:solidFill>
                  <a:schemeClr val="tx2"/>
                </a:solidFill>
              </a:rPr>
              <a:t>)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EBITDA come gate: sotto </a:t>
            </a:r>
            <a:r>
              <a:rPr sz="1400" dirty="0" err="1">
                <a:solidFill>
                  <a:schemeClr val="tx2"/>
                </a:solidFill>
              </a:rPr>
              <a:t>soglia</a:t>
            </a:r>
            <a:r>
              <a:rPr sz="1400" dirty="0">
                <a:solidFill>
                  <a:schemeClr val="tx2"/>
                </a:solidFill>
              </a:rPr>
              <a:t> → </a:t>
            </a:r>
            <a:r>
              <a:rPr sz="1400" dirty="0" err="1">
                <a:solidFill>
                  <a:schemeClr val="tx2"/>
                </a:solidFill>
              </a:rPr>
              <a:t>nessun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erogazione</a:t>
            </a:r>
            <a:endParaRPr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Import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stimat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convertibili</a:t>
            </a:r>
            <a:r>
              <a:rPr sz="1400" dirty="0">
                <a:solidFill>
                  <a:schemeClr val="tx2"/>
                </a:solidFill>
              </a:rPr>
              <a:t> in welfare: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Quadri: € 8.000 – 10.000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Impiegati</a:t>
            </a:r>
            <a:r>
              <a:rPr sz="1400" dirty="0">
                <a:solidFill>
                  <a:schemeClr val="tx2"/>
                </a:solidFill>
              </a:rPr>
              <a:t>: € 5.000 – 8.000</a:t>
            </a:r>
          </a:p>
          <a:p>
            <a:pPr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Situazione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attuale</a:t>
            </a:r>
            <a:r>
              <a:rPr sz="1400" dirty="0">
                <a:solidFill>
                  <a:schemeClr val="tx2"/>
                </a:solidFill>
              </a:rPr>
              <a:t>: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Intero</a:t>
            </a:r>
            <a:r>
              <a:rPr sz="1400" dirty="0">
                <a:solidFill>
                  <a:schemeClr val="tx2"/>
                </a:solidFill>
              </a:rPr>
              <a:t> MBO </a:t>
            </a:r>
            <a:r>
              <a:rPr sz="1400" dirty="0" err="1">
                <a:solidFill>
                  <a:schemeClr val="tx2"/>
                </a:solidFill>
              </a:rPr>
              <a:t>assoggettato</a:t>
            </a:r>
            <a:r>
              <a:rPr sz="1400" dirty="0">
                <a:solidFill>
                  <a:schemeClr val="tx2"/>
                </a:solidFill>
              </a:rPr>
              <a:t> a </a:t>
            </a:r>
            <a:r>
              <a:rPr sz="1400" dirty="0" err="1">
                <a:solidFill>
                  <a:schemeClr val="tx2"/>
                </a:solidFill>
              </a:rPr>
              <a:t>tassazione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ordinaria</a:t>
            </a:r>
            <a:endParaRPr sz="1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619760"/>
          </a:xfrm>
        </p:spPr>
        <p:txBody>
          <a:bodyPr/>
          <a:lstStyle/>
          <a:p>
            <a:r>
              <a:rPr lang="it-IT" sz="2400" dirty="0"/>
              <a:t>MBO → Welfare aziendale (Interpello n. 77/2025)</a:t>
            </a:r>
            <a:endParaRPr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9670C5-0317-D1A9-857A-20FE59E4ED2B}"/>
              </a:ext>
            </a:extLst>
          </p:cNvPr>
          <p:cNvSpPr txBox="1"/>
          <p:nvPr/>
        </p:nvSpPr>
        <p:spPr>
          <a:xfrm>
            <a:off x="707814" y="1383030"/>
            <a:ext cx="8902911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Riferimento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normativo</a:t>
            </a:r>
            <a:r>
              <a:rPr sz="1400" dirty="0">
                <a:solidFill>
                  <a:schemeClr val="tx2"/>
                </a:solidFill>
              </a:rPr>
              <a:t>: Art. 51 TUIR, </a:t>
            </a:r>
            <a:r>
              <a:rPr sz="1400" dirty="0" err="1">
                <a:solidFill>
                  <a:schemeClr val="tx2"/>
                </a:solidFill>
              </a:rPr>
              <a:t>commi</a:t>
            </a:r>
            <a:r>
              <a:rPr sz="1400" dirty="0">
                <a:solidFill>
                  <a:schemeClr val="tx2"/>
                </a:solidFill>
              </a:rPr>
              <a:t> 1, 2 e 3</a:t>
            </a:r>
          </a:p>
          <a:p>
            <a:pPr algn="just">
              <a:defRPr sz="1600"/>
            </a:pPr>
            <a:r>
              <a:rPr sz="1400" dirty="0">
                <a:solidFill>
                  <a:schemeClr val="tx2"/>
                </a:solidFill>
              </a:rPr>
              <a:t>   • Comma 1: principio di </a:t>
            </a:r>
            <a:r>
              <a:rPr sz="1400" dirty="0" err="1">
                <a:solidFill>
                  <a:schemeClr val="tx2"/>
                </a:solidFill>
              </a:rPr>
              <a:t>onnicomprensività</a:t>
            </a:r>
            <a:r>
              <a:rPr sz="1400" dirty="0">
                <a:solidFill>
                  <a:schemeClr val="tx2"/>
                </a:solidFill>
              </a:rPr>
              <a:t> → tutte le </a:t>
            </a:r>
            <a:r>
              <a:rPr sz="1400" dirty="0" err="1">
                <a:solidFill>
                  <a:schemeClr val="tx2"/>
                </a:solidFill>
              </a:rPr>
              <a:t>somme</a:t>
            </a:r>
            <a:r>
              <a:rPr sz="1400" dirty="0">
                <a:solidFill>
                  <a:schemeClr val="tx2"/>
                </a:solidFill>
              </a:rPr>
              <a:t> e </a:t>
            </a:r>
            <a:r>
              <a:rPr sz="1400" dirty="0" err="1">
                <a:solidFill>
                  <a:schemeClr val="tx2"/>
                </a:solidFill>
              </a:rPr>
              <a:t>valor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percepiti</a:t>
            </a:r>
            <a:r>
              <a:rPr sz="1400" dirty="0">
                <a:solidFill>
                  <a:schemeClr val="tx2"/>
                </a:solidFill>
              </a:rPr>
              <a:t> in </a:t>
            </a:r>
            <a:r>
              <a:rPr sz="1400" dirty="0" err="1">
                <a:solidFill>
                  <a:schemeClr val="tx2"/>
                </a:solidFill>
              </a:rPr>
              <a:t>relazione</a:t>
            </a:r>
            <a:r>
              <a:rPr sz="1400" dirty="0">
                <a:solidFill>
                  <a:schemeClr val="tx2"/>
                </a:solidFill>
              </a:rPr>
              <a:t> al lavoro </a:t>
            </a:r>
            <a:r>
              <a:rPr sz="1400" dirty="0" err="1">
                <a:solidFill>
                  <a:schemeClr val="tx2"/>
                </a:solidFill>
              </a:rPr>
              <a:t>costituiscono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reddito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imponibile</a:t>
            </a:r>
            <a:endParaRPr sz="1400" dirty="0">
              <a:solidFill>
                <a:schemeClr val="tx2"/>
              </a:solidFill>
            </a:endParaRPr>
          </a:p>
          <a:p>
            <a:pPr algn="just"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Commi</a:t>
            </a:r>
            <a:r>
              <a:rPr sz="1400" dirty="0">
                <a:solidFill>
                  <a:schemeClr val="tx2"/>
                </a:solidFill>
              </a:rPr>
              <a:t> 2 e 3: </a:t>
            </a:r>
            <a:r>
              <a:rPr sz="1400" dirty="0" err="1">
                <a:solidFill>
                  <a:schemeClr val="tx2"/>
                </a:solidFill>
              </a:rPr>
              <a:t>deroghe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parziali</a:t>
            </a:r>
            <a:r>
              <a:rPr sz="1400" dirty="0">
                <a:solidFill>
                  <a:schemeClr val="tx2"/>
                </a:solidFill>
              </a:rPr>
              <a:t> o </a:t>
            </a:r>
            <a:r>
              <a:rPr sz="1400" dirty="0" err="1">
                <a:solidFill>
                  <a:schemeClr val="tx2"/>
                </a:solidFill>
              </a:rPr>
              <a:t>totali</a:t>
            </a:r>
            <a:r>
              <a:rPr sz="1400" dirty="0">
                <a:solidFill>
                  <a:schemeClr val="tx2"/>
                </a:solidFill>
              </a:rPr>
              <a:t>, </a:t>
            </a:r>
            <a:r>
              <a:rPr sz="1400" dirty="0" err="1">
                <a:solidFill>
                  <a:schemeClr val="tx2"/>
                </a:solidFill>
              </a:rPr>
              <a:t>limitate</a:t>
            </a:r>
            <a:r>
              <a:rPr sz="1400" dirty="0">
                <a:solidFill>
                  <a:schemeClr val="tx2"/>
                </a:solidFill>
              </a:rPr>
              <a:t> a </a:t>
            </a:r>
            <a:r>
              <a:rPr sz="1400" dirty="0" err="1">
                <a:solidFill>
                  <a:schemeClr val="tx2"/>
                </a:solidFill>
              </a:rPr>
              <a:t>specific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beni</a:t>
            </a:r>
            <a:r>
              <a:rPr sz="1400" dirty="0">
                <a:solidFill>
                  <a:schemeClr val="tx2"/>
                </a:solidFill>
              </a:rPr>
              <a:t>, </a:t>
            </a:r>
            <a:r>
              <a:rPr sz="1400" dirty="0" err="1">
                <a:solidFill>
                  <a:schemeClr val="tx2"/>
                </a:solidFill>
              </a:rPr>
              <a:t>servizi</a:t>
            </a:r>
            <a:r>
              <a:rPr sz="1400" dirty="0">
                <a:solidFill>
                  <a:schemeClr val="tx2"/>
                </a:solidFill>
              </a:rPr>
              <a:t> e </a:t>
            </a:r>
            <a:r>
              <a:rPr sz="1400" dirty="0" err="1">
                <a:solidFill>
                  <a:schemeClr val="tx2"/>
                </a:solidFill>
              </a:rPr>
              <a:t>rimborsi</a:t>
            </a:r>
            <a:r>
              <a:rPr sz="1400" dirty="0">
                <a:solidFill>
                  <a:schemeClr val="tx2"/>
                </a:solidFill>
              </a:rPr>
              <a:t>, </a:t>
            </a:r>
            <a:r>
              <a:rPr sz="1400" dirty="0" err="1">
                <a:solidFill>
                  <a:schemeClr val="tx2"/>
                </a:solidFill>
              </a:rPr>
              <a:t>purché</a:t>
            </a:r>
            <a:r>
              <a:rPr sz="1400" dirty="0">
                <a:solidFill>
                  <a:schemeClr val="tx2"/>
                </a:solidFill>
              </a:rPr>
              <a:t> non </a:t>
            </a:r>
            <a:r>
              <a:rPr sz="1400" dirty="0" err="1">
                <a:solidFill>
                  <a:schemeClr val="tx2"/>
                </a:solidFill>
              </a:rPr>
              <a:t>configurino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aggiramento</a:t>
            </a:r>
            <a:r>
              <a:rPr sz="1400" dirty="0">
                <a:solidFill>
                  <a:schemeClr val="tx2"/>
                </a:solidFill>
              </a:rPr>
              <a:t> del principio di </a:t>
            </a:r>
            <a:r>
              <a:rPr sz="1400" dirty="0" err="1">
                <a:solidFill>
                  <a:schemeClr val="tx2"/>
                </a:solidFill>
              </a:rPr>
              <a:t>capacità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contributiva</a:t>
            </a:r>
            <a:endParaRPr sz="1400" dirty="0">
              <a:solidFill>
                <a:schemeClr val="tx2"/>
              </a:solidFill>
            </a:endParaRPr>
          </a:p>
          <a:p>
            <a:pPr algn="just"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 algn="just"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Analisi</a:t>
            </a:r>
            <a:r>
              <a:rPr sz="1400" dirty="0">
                <a:solidFill>
                  <a:schemeClr val="tx2"/>
                </a:solidFill>
              </a:rPr>
              <a:t> A</a:t>
            </a:r>
            <a:r>
              <a:rPr lang="it-IT" sz="1400" dirty="0">
                <a:solidFill>
                  <a:schemeClr val="tx2"/>
                </a:solidFill>
              </a:rPr>
              <a:t>d</a:t>
            </a:r>
            <a:r>
              <a:rPr sz="1400" dirty="0">
                <a:solidFill>
                  <a:schemeClr val="tx2"/>
                </a:solidFill>
              </a:rPr>
              <a:t>E:</a:t>
            </a:r>
          </a:p>
          <a:p>
            <a:pPr algn="just"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Benefici</a:t>
            </a:r>
            <a:r>
              <a:rPr sz="1400" dirty="0">
                <a:solidFill>
                  <a:schemeClr val="tx2"/>
                </a:solidFill>
              </a:rPr>
              <a:t> MBO </a:t>
            </a:r>
            <a:r>
              <a:rPr sz="1400" dirty="0" err="1">
                <a:solidFill>
                  <a:schemeClr val="tx2"/>
                </a:solidFill>
              </a:rPr>
              <a:t>hanno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finalità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premiale</a:t>
            </a:r>
            <a:r>
              <a:rPr sz="1400" dirty="0">
                <a:solidFill>
                  <a:schemeClr val="tx2"/>
                </a:solidFill>
              </a:rPr>
              <a:t> (</a:t>
            </a:r>
            <a:r>
              <a:rPr sz="1400" dirty="0" err="1">
                <a:solidFill>
                  <a:schemeClr val="tx2"/>
                </a:solidFill>
              </a:rPr>
              <a:t>collettiva</a:t>
            </a:r>
            <a:r>
              <a:rPr sz="1400" dirty="0">
                <a:solidFill>
                  <a:schemeClr val="tx2"/>
                </a:solidFill>
              </a:rPr>
              <a:t> o </a:t>
            </a:r>
            <a:r>
              <a:rPr sz="1400" dirty="0" err="1">
                <a:solidFill>
                  <a:schemeClr val="tx2"/>
                </a:solidFill>
              </a:rPr>
              <a:t>individuale</a:t>
            </a:r>
            <a:r>
              <a:rPr sz="1400" dirty="0">
                <a:solidFill>
                  <a:schemeClr val="tx2"/>
                </a:solidFill>
              </a:rPr>
              <a:t>), non </a:t>
            </a:r>
            <a:r>
              <a:rPr sz="1400" dirty="0" err="1">
                <a:solidFill>
                  <a:schemeClr val="tx2"/>
                </a:solidFill>
              </a:rPr>
              <a:t>generic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fidelizzazione</a:t>
            </a:r>
            <a:endParaRPr sz="1400" dirty="0">
              <a:solidFill>
                <a:schemeClr val="tx2"/>
              </a:solidFill>
            </a:endParaRPr>
          </a:p>
          <a:p>
            <a:pPr algn="just"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Destinatar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individuati</a:t>
            </a:r>
            <a:r>
              <a:rPr sz="1400" dirty="0">
                <a:solidFill>
                  <a:schemeClr val="tx2"/>
                </a:solidFill>
              </a:rPr>
              <a:t> in base a performance → non </a:t>
            </a:r>
            <a:r>
              <a:rPr sz="1400" dirty="0" err="1">
                <a:solidFill>
                  <a:schemeClr val="tx2"/>
                </a:solidFill>
              </a:rPr>
              <a:t>rientrano</a:t>
            </a:r>
            <a:r>
              <a:rPr sz="1400" dirty="0">
                <a:solidFill>
                  <a:schemeClr val="tx2"/>
                </a:solidFill>
              </a:rPr>
              <a:t> in '</a:t>
            </a:r>
            <a:r>
              <a:rPr sz="1400" dirty="0" err="1">
                <a:solidFill>
                  <a:schemeClr val="tx2"/>
                </a:solidFill>
              </a:rPr>
              <a:t>generalità</a:t>
            </a:r>
            <a:r>
              <a:rPr sz="1400" dirty="0">
                <a:solidFill>
                  <a:schemeClr val="tx2"/>
                </a:solidFill>
              </a:rPr>
              <a:t>' o '</a:t>
            </a:r>
            <a:r>
              <a:rPr sz="1400" dirty="0" err="1">
                <a:solidFill>
                  <a:schemeClr val="tx2"/>
                </a:solidFill>
              </a:rPr>
              <a:t>categorie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omogenee</a:t>
            </a:r>
            <a:r>
              <a:rPr sz="1400" dirty="0">
                <a:solidFill>
                  <a:schemeClr val="tx2"/>
                </a:solidFill>
              </a:rPr>
              <a:t>'</a:t>
            </a:r>
          </a:p>
          <a:p>
            <a:pPr algn="just">
              <a:defRPr sz="1600"/>
            </a:pPr>
            <a:r>
              <a:rPr sz="1400" dirty="0">
                <a:solidFill>
                  <a:schemeClr val="tx2"/>
                </a:solidFill>
              </a:rPr>
              <a:t>   • Detassazione </a:t>
            </a:r>
            <a:r>
              <a:rPr sz="1400" dirty="0" err="1">
                <a:solidFill>
                  <a:schemeClr val="tx2"/>
                </a:solidFill>
              </a:rPr>
              <a:t>commi</a:t>
            </a:r>
            <a:r>
              <a:rPr sz="1400" dirty="0">
                <a:solidFill>
                  <a:schemeClr val="tx2"/>
                </a:solidFill>
              </a:rPr>
              <a:t> 2 e 3 non </a:t>
            </a:r>
            <a:r>
              <a:rPr sz="1400" dirty="0" err="1">
                <a:solidFill>
                  <a:schemeClr val="tx2"/>
                </a:solidFill>
              </a:rPr>
              <a:t>estensibile</a:t>
            </a:r>
            <a:r>
              <a:rPr sz="1400" dirty="0">
                <a:solidFill>
                  <a:schemeClr val="tx2"/>
                </a:solidFill>
              </a:rPr>
              <a:t> a </a:t>
            </a:r>
            <a:r>
              <a:rPr sz="1400" dirty="0" err="1">
                <a:solidFill>
                  <a:schemeClr val="tx2"/>
                </a:solidFill>
              </a:rPr>
              <a:t>sistem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premial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selettivi</a:t>
            </a:r>
            <a:r>
              <a:rPr sz="1400" dirty="0">
                <a:solidFill>
                  <a:schemeClr val="tx2"/>
                </a:solidFill>
              </a:rPr>
              <a:t> o </a:t>
            </a:r>
            <a:r>
              <a:rPr sz="1400" dirty="0" err="1">
                <a:solidFill>
                  <a:schemeClr val="tx2"/>
                </a:solidFill>
              </a:rPr>
              <a:t>conversione</a:t>
            </a:r>
            <a:r>
              <a:rPr sz="1400" dirty="0">
                <a:solidFill>
                  <a:schemeClr val="tx2"/>
                </a:solidFill>
              </a:rPr>
              <a:t> di </a:t>
            </a:r>
            <a:r>
              <a:rPr sz="1400" dirty="0" err="1">
                <a:solidFill>
                  <a:schemeClr val="tx2"/>
                </a:solidFill>
              </a:rPr>
              <a:t>retribuzione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imponibile</a:t>
            </a:r>
            <a:endParaRPr sz="1400" dirty="0">
              <a:solidFill>
                <a:schemeClr val="tx2"/>
              </a:solidFill>
            </a:endParaRPr>
          </a:p>
          <a:p>
            <a:pPr algn="just">
              <a:defRPr sz="1600" b="1">
                <a:solidFill>
                  <a:srgbClr val="003366"/>
                </a:solidFill>
              </a:defRPr>
            </a:pPr>
            <a:endParaRPr lang="it-IT" sz="1400" dirty="0">
              <a:solidFill>
                <a:schemeClr val="tx2"/>
              </a:solidFill>
            </a:endParaRPr>
          </a:p>
          <a:p>
            <a:pPr algn="just"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Riferiment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normativ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aggiuntivi</a:t>
            </a:r>
            <a:r>
              <a:rPr sz="1400" dirty="0">
                <a:solidFill>
                  <a:schemeClr val="tx2"/>
                </a:solidFill>
              </a:rPr>
              <a:t>:</a:t>
            </a:r>
          </a:p>
          <a:p>
            <a:pPr algn="just"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Legge</a:t>
            </a:r>
            <a:r>
              <a:rPr sz="1400" dirty="0">
                <a:solidFill>
                  <a:schemeClr val="tx2"/>
                </a:solidFill>
              </a:rPr>
              <a:t> 28 </a:t>
            </a:r>
            <a:r>
              <a:rPr sz="1400" dirty="0" err="1">
                <a:solidFill>
                  <a:schemeClr val="tx2"/>
                </a:solidFill>
              </a:rPr>
              <a:t>dicembre</a:t>
            </a:r>
            <a:r>
              <a:rPr sz="1400" dirty="0">
                <a:solidFill>
                  <a:schemeClr val="tx2"/>
                </a:solidFill>
              </a:rPr>
              <a:t> 2015, n. 208 (</a:t>
            </a:r>
            <a:r>
              <a:rPr sz="1400" dirty="0" err="1">
                <a:solidFill>
                  <a:schemeClr val="tx2"/>
                </a:solidFill>
              </a:rPr>
              <a:t>Stabilità</a:t>
            </a:r>
            <a:r>
              <a:rPr sz="1400" dirty="0">
                <a:solidFill>
                  <a:schemeClr val="tx2"/>
                </a:solidFill>
              </a:rPr>
              <a:t> 2016), </a:t>
            </a:r>
            <a:r>
              <a:rPr sz="1400" dirty="0" err="1">
                <a:solidFill>
                  <a:schemeClr val="tx2"/>
                </a:solidFill>
              </a:rPr>
              <a:t>commi</a:t>
            </a:r>
            <a:r>
              <a:rPr sz="1400" dirty="0">
                <a:solidFill>
                  <a:schemeClr val="tx2"/>
                </a:solidFill>
              </a:rPr>
              <a:t> 182–184: </a:t>
            </a:r>
            <a:r>
              <a:rPr sz="1400" dirty="0" err="1">
                <a:solidFill>
                  <a:schemeClr val="tx2"/>
                </a:solidFill>
              </a:rPr>
              <a:t>premi</a:t>
            </a:r>
            <a:r>
              <a:rPr sz="1400" dirty="0">
                <a:solidFill>
                  <a:schemeClr val="tx2"/>
                </a:solidFill>
              </a:rPr>
              <a:t> di </a:t>
            </a:r>
            <a:r>
              <a:rPr sz="1400" dirty="0" err="1">
                <a:solidFill>
                  <a:schemeClr val="tx2"/>
                </a:solidFill>
              </a:rPr>
              <a:t>risultato</a:t>
            </a:r>
            <a:r>
              <a:rPr sz="1400" dirty="0">
                <a:solidFill>
                  <a:schemeClr val="tx2"/>
                </a:solidFill>
              </a:rPr>
              <a:t> con </a:t>
            </a:r>
            <a:r>
              <a:rPr sz="1400" dirty="0" err="1">
                <a:solidFill>
                  <a:schemeClr val="tx2"/>
                </a:solidFill>
              </a:rPr>
              <a:t>impost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sostitutiv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lang="it-IT" sz="1400" dirty="0">
                <a:solidFill>
                  <a:schemeClr val="tx2"/>
                </a:solidFill>
              </a:rPr>
              <a:t>5</a:t>
            </a:r>
            <a:r>
              <a:rPr sz="1400" dirty="0">
                <a:solidFill>
                  <a:schemeClr val="tx2"/>
                </a:solidFill>
              </a:rPr>
              <a:t>% </a:t>
            </a:r>
            <a:r>
              <a:rPr sz="1400" dirty="0" err="1">
                <a:solidFill>
                  <a:schemeClr val="tx2"/>
                </a:solidFill>
              </a:rPr>
              <a:t>fino</a:t>
            </a:r>
            <a:r>
              <a:rPr sz="1400" dirty="0">
                <a:solidFill>
                  <a:schemeClr val="tx2"/>
                </a:solidFill>
              </a:rPr>
              <a:t> a €3.000</a:t>
            </a:r>
          </a:p>
          <a:p>
            <a:pPr algn="just">
              <a:defRPr sz="1600"/>
            </a:pPr>
            <a:r>
              <a:rPr sz="1400" dirty="0">
                <a:solidFill>
                  <a:schemeClr val="tx2"/>
                </a:solidFill>
              </a:rPr>
              <a:t>   • Circolare AE 28/E/2016, par.3: detassazione </a:t>
            </a:r>
            <a:r>
              <a:rPr sz="1400" dirty="0" err="1">
                <a:solidFill>
                  <a:schemeClr val="tx2"/>
                </a:solidFill>
              </a:rPr>
              <a:t>dei</a:t>
            </a:r>
            <a:r>
              <a:rPr sz="1400" dirty="0">
                <a:solidFill>
                  <a:schemeClr val="tx2"/>
                </a:solidFill>
              </a:rPr>
              <a:t> benefit solo se </a:t>
            </a:r>
            <a:r>
              <a:rPr sz="1400" dirty="0" err="1">
                <a:solidFill>
                  <a:schemeClr val="tx2"/>
                </a:solidFill>
              </a:rPr>
              <a:t>sostituiscono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premi</a:t>
            </a:r>
            <a:r>
              <a:rPr sz="1400" dirty="0">
                <a:solidFill>
                  <a:schemeClr val="tx2"/>
                </a:solidFill>
              </a:rPr>
              <a:t> di </a:t>
            </a:r>
            <a:r>
              <a:rPr sz="1400" dirty="0" err="1">
                <a:solidFill>
                  <a:schemeClr val="tx2"/>
                </a:solidFill>
              </a:rPr>
              <a:t>risultato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assoggettati</a:t>
            </a:r>
            <a:r>
              <a:rPr sz="1400" dirty="0">
                <a:solidFill>
                  <a:schemeClr val="tx2"/>
                </a:solidFill>
              </a:rPr>
              <a:t> a comma 182</a:t>
            </a:r>
          </a:p>
        </p:txBody>
      </p:sp>
    </p:spTree>
    <p:extLst>
      <p:ext uri="{BB962C8B-B14F-4D97-AF65-F5344CB8AC3E}">
        <p14:creationId xmlns:p14="http://schemas.microsoft.com/office/powerpoint/2010/main" val="230140756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19670C5-0317-D1A9-857A-20FE59E4ED2B}"/>
              </a:ext>
            </a:extLst>
          </p:cNvPr>
          <p:cNvSpPr txBox="1"/>
          <p:nvPr/>
        </p:nvSpPr>
        <p:spPr>
          <a:xfrm>
            <a:off x="677334" y="1463040"/>
            <a:ext cx="8952441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600" b="1">
                <a:solidFill>
                  <a:srgbClr val="003366"/>
                </a:solidFill>
              </a:defRPr>
            </a:pPr>
            <a:r>
              <a:rPr sz="1400" dirty="0" err="1">
                <a:solidFill>
                  <a:schemeClr val="tx2"/>
                </a:solidFill>
              </a:rPr>
              <a:t>Conclusione</a:t>
            </a:r>
            <a:r>
              <a:rPr sz="1400" dirty="0">
                <a:solidFill>
                  <a:schemeClr val="tx2"/>
                </a:solidFill>
              </a:rPr>
              <a:t> A</a:t>
            </a:r>
            <a:r>
              <a:rPr lang="it-IT" sz="1400" dirty="0">
                <a:solidFill>
                  <a:schemeClr val="tx2"/>
                </a:solidFill>
              </a:rPr>
              <a:t>d</a:t>
            </a:r>
            <a:r>
              <a:rPr sz="1400" dirty="0">
                <a:solidFill>
                  <a:schemeClr val="tx2"/>
                </a:solidFill>
              </a:rPr>
              <a:t>E: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Conversione</a:t>
            </a:r>
            <a:r>
              <a:rPr sz="1400" dirty="0">
                <a:solidFill>
                  <a:schemeClr val="tx2"/>
                </a:solidFill>
              </a:rPr>
              <a:t> MBO in welfare non </a:t>
            </a:r>
            <a:r>
              <a:rPr sz="1400" dirty="0" err="1">
                <a:solidFill>
                  <a:schemeClr val="tx2"/>
                </a:solidFill>
              </a:rPr>
              <a:t>rientr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ne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benefic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fiscal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lang="it-IT" sz="1400" dirty="0">
                <a:solidFill>
                  <a:schemeClr val="tx2"/>
                </a:solidFill>
              </a:rPr>
              <a:t>ex </a:t>
            </a:r>
            <a:r>
              <a:rPr sz="1400" dirty="0">
                <a:solidFill>
                  <a:schemeClr val="tx2"/>
                </a:solidFill>
              </a:rPr>
              <a:t>art. 51 TUIR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• </a:t>
            </a:r>
            <a:r>
              <a:rPr sz="1400" dirty="0" err="1">
                <a:solidFill>
                  <a:schemeClr val="tx2"/>
                </a:solidFill>
              </a:rPr>
              <a:t>Motivi</a:t>
            </a:r>
            <a:r>
              <a:rPr sz="1400" dirty="0">
                <a:solidFill>
                  <a:schemeClr val="tx2"/>
                </a:solidFill>
              </a:rPr>
              <a:t>:</a:t>
            </a: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   1. Sistema </a:t>
            </a:r>
            <a:r>
              <a:rPr sz="1400" dirty="0" err="1">
                <a:solidFill>
                  <a:schemeClr val="tx2"/>
                </a:solidFill>
              </a:rPr>
              <a:t>premiale</a:t>
            </a:r>
            <a:r>
              <a:rPr sz="1400" dirty="0">
                <a:solidFill>
                  <a:schemeClr val="tx2"/>
                </a:solidFill>
              </a:rPr>
              <a:t> e non </a:t>
            </a:r>
            <a:r>
              <a:rPr sz="1400" dirty="0" err="1">
                <a:solidFill>
                  <a:schemeClr val="tx2"/>
                </a:solidFill>
              </a:rPr>
              <a:t>generalizzato</a:t>
            </a:r>
            <a:endParaRPr sz="1400" dirty="0">
              <a:solidFill>
                <a:schemeClr val="tx2"/>
              </a:solidFill>
            </a:endParaRP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   2. </a:t>
            </a:r>
            <a:r>
              <a:rPr sz="1400" dirty="0" err="1">
                <a:solidFill>
                  <a:schemeClr val="tx2"/>
                </a:solidFill>
              </a:rPr>
              <a:t>Destinatari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selezionati</a:t>
            </a:r>
            <a:r>
              <a:rPr sz="1400" dirty="0">
                <a:solidFill>
                  <a:schemeClr val="tx2"/>
                </a:solidFill>
              </a:rPr>
              <a:t>, non </a:t>
            </a:r>
            <a:r>
              <a:rPr sz="1400" dirty="0" err="1">
                <a:solidFill>
                  <a:schemeClr val="tx2"/>
                </a:solidFill>
              </a:rPr>
              <a:t>categorie</a:t>
            </a:r>
            <a:r>
              <a:rPr sz="1400" dirty="0">
                <a:solidFill>
                  <a:schemeClr val="tx2"/>
                </a:solidFill>
              </a:rPr>
              <a:t>/</a:t>
            </a:r>
            <a:r>
              <a:rPr sz="1400" dirty="0" err="1">
                <a:solidFill>
                  <a:schemeClr val="tx2"/>
                </a:solidFill>
              </a:rPr>
              <a:t>generalità</a:t>
            </a:r>
            <a:endParaRPr sz="1400" dirty="0">
              <a:solidFill>
                <a:schemeClr val="tx2"/>
              </a:solidFill>
            </a:endParaRP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   3. </a:t>
            </a:r>
            <a:r>
              <a:rPr sz="1400" dirty="0" err="1">
                <a:solidFill>
                  <a:schemeClr val="tx2"/>
                </a:solidFill>
              </a:rPr>
              <a:t>Scelt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denaro</a:t>
            </a:r>
            <a:r>
              <a:rPr sz="1400" dirty="0">
                <a:solidFill>
                  <a:schemeClr val="tx2"/>
                </a:solidFill>
              </a:rPr>
              <a:t>/welfare non </a:t>
            </a:r>
            <a:r>
              <a:rPr sz="1400" dirty="0" err="1">
                <a:solidFill>
                  <a:schemeClr val="tx2"/>
                </a:solidFill>
              </a:rPr>
              <a:t>modifica</a:t>
            </a:r>
            <a:r>
              <a:rPr sz="1400" dirty="0">
                <a:solidFill>
                  <a:schemeClr val="tx2"/>
                </a:solidFill>
              </a:rPr>
              <a:t> natura </a:t>
            </a:r>
            <a:r>
              <a:rPr sz="1400" dirty="0" err="1">
                <a:solidFill>
                  <a:schemeClr val="tx2"/>
                </a:solidFill>
              </a:rPr>
              <a:t>imponibile</a:t>
            </a:r>
            <a:endParaRPr sz="1400" dirty="0">
              <a:solidFill>
                <a:schemeClr val="tx2"/>
              </a:solidFill>
            </a:endParaRPr>
          </a:p>
          <a:p>
            <a:pPr>
              <a:defRPr sz="1600"/>
            </a:pPr>
            <a:r>
              <a:rPr sz="1400" dirty="0">
                <a:solidFill>
                  <a:schemeClr val="tx2"/>
                </a:solidFill>
              </a:rPr>
              <a:t>      4. </a:t>
            </a:r>
            <a:r>
              <a:rPr sz="1400" dirty="0" err="1">
                <a:solidFill>
                  <a:schemeClr val="tx2"/>
                </a:solidFill>
              </a:rPr>
              <a:t>Disciplina</a:t>
            </a:r>
            <a:r>
              <a:rPr sz="1400" dirty="0">
                <a:solidFill>
                  <a:schemeClr val="tx2"/>
                </a:solidFill>
              </a:rPr>
              <a:t> </a:t>
            </a:r>
            <a:r>
              <a:rPr sz="1400" dirty="0" err="1">
                <a:solidFill>
                  <a:schemeClr val="tx2"/>
                </a:solidFill>
              </a:rPr>
              <a:t>agevolativa</a:t>
            </a:r>
            <a:r>
              <a:rPr sz="1400" dirty="0">
                <a:solidFill>
                  <a:schemeClr val="tx2"/>
                </a:solidFill>
              </a:rPr>
              <a:t> comma 184 L.208/2015 </a:t>
            </a:r>
            <a:r>
              <a:rPr sz="1400" dirty="0" err="1">
                <a:solidFill>
                  <a:schemeClr val="tx2"/>
                </a:solidFill>
              </a:rPr>
              <a:t>applicabile</a:t>
            </a:r>
            <a:r>
              <a:rPr sz="1400" dirty="0">
                <a:solidFill>
                  <a:schemeClr val="tx2"/>
                </a:solidFill>
              </a:rPr>
              <a:t> solo a </a:t>
            </a:r>
            <a:r>
              <a:rPr sz="1400" dirty="0" err="1">
                <a:solidFill>
                  <a:schemeClr val="tx2"/>
                </a:solidFill>
              </a:rPr>
              <a:t>premi</a:t>
            </a:r>
            <a:r>
              <a:rPr sz="1400" dirty="0">
                <a:solidFill>
                  <a:schemeClr val="tx2"/>
                </a:solidFill>
              </a:rPr>
              <a:t> di </a:t>
            </a:r>
            <a:r>
              <a:rPr sz="1400" dirty="0" err="1">
                <a:solidFill>
                  <a:schemeClr val="tx2"/>
                </a:solidFill>
              </a:rPr>
              <a:t>risultato</a:t>
            </a:r>
            <a:r>
              <a:rPr lang="it-IT" sz="1400" dirty="0">
                <a:solidFill>
                  <a:schemeClr val="tx2"/>
                </a:solidFill>
              </a:rPr>
              <a:t> agevolati</a:t>
            </a:r>
          </a:p>
          <a:p>
            <a:pPr>
              <a:defRPr sz="1600"/>
            </a:pPr>
            <a:endParaRPr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564377F-E278-6AA6-C57F-0E23E38648F7}"/>
              </a:ext>
            </a:extLst>
          </p:cNvPr>
          <p:cNvSpPr txBox="1">
            <a:spLocks/>
          </p:cNvSpPr>
          <p:nvPr/>
        </p:nvSpPr>
        <p:spPr>
          <a:xfrm>
            <a:off x="677334" y="60960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MBO → Welfare aziendale (Interpello n. 77/2025)</a:t>
            </a:r>
          </a:p>
        </p:txBody>
      </p:sp>
    </p:spTree>
    <p:extLst>
      <p:ext uri="{BB962C8B-B14F-4D97-AF65-F5344CB8AC3E}">
        <p14:creationId xmlns:p14="http://schemas.microsoft.com/office/powerpoint/2010/main" val="264582458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564377F-E278-6AA6-C57F-0E23E38648F7}"/>
              </a:ext>
            </a:extLst>
          </p:cNvPr>
          <p:cNvSpPr txBox="1">
            <a:spLocks/>
          </p:cNvSpPr>
          <p:nvPr/>
        </p:nvSpPr>
        <p:spPr>
          <a:xfrm>
            <a:off x="528320" y="51816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Indennità obsolete → Welfare aziendale (Interpello n. 195/2025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BE9599-D3BF-4F8F-B38D-0EFD9A050F60}"/>
              </a:ext>
            </a:extLst>
          </p:cNvPr>
          <p:cNvSpPr txBox="1"/>
          <p:nvPr/>
        </p:nvSpPr>
        <p:spPr>
          <a:xfrm>
            <a:off x="528320" y="1259840"/>
            <a:ext cx="9063355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Quesito: La società chiede se la quota di retribuzione relativa a indennità obsolete, convertita dai dipendenti in prestazioni di welfare, possa fruire del regime di esclusione dal reddito di lavoro dipendente (art. 51, c.2 e c.3 TUIR).</a:t>
            </a:r>
          </a:p>
          <a:p>
            <a:r>
              <a:rPr lang="it-IT" sz="1400" dirty="0"/>
              <a:t>Le indennità obsolete vengono soppresse dal 1° gennaio 2025 secondo il CCNL.</a:t>
            </a:r>
          </a:p>
          <a:p>
            <a:r>
              <a:rPr lang="it-IT" sz="1400" dirty="0"/>
              <a:t>I dipendenti interessati possono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1400" dirty="0"/>
              <a:t>Ricevere l’importo in denaro (ad personam)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1400" dirty="0"/>
              <a:t>Convertirlo in welfare aziendale.</a:t>
            </a:r>
          </a:p>
          <a:p>
            <a:endParaRPr lang="it-IT" sz="1400" dirty="0"/>
          </a:p>
          <a:p>
            <a:r>
              <a:rPr lang="it-IT" sz="1400" dirty="0"/>
              <a:t>Soluzione prospettata dal contribuente</a:t>
            </a:r>
          </a:p>
          <a:p>
            <a:r>
              <a:rPr lang="it-IT" sz="1400" dirty="0"/>
              <a:t>Esenzione fiscale prevista per i dipendenti che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1400" dirty="0"/>
              <a:t>percepivano le indennità soppresse al 31/12/2024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1400" dirty="0"/>
              <a:t>hanno scelto di convertire l’importo in welfare aziendale.</a:t>
            </a:r>
          </a:p>
          <a:p>
            <a:r>
              <a:rPr lang="it-IT" sz="1400" dirty="0"/>
              <a:t>Obiettivo dichiarato: incentivare fidelizzazione e soddisfazione dei dipendenti.</a:t>
            </a:r>
          </a:p>
          <a:p>
            <a:endParaRPr lang="it-IT" sz="1400" dirty="0"/>
          </a:p>
          <a:p>
            <a:r>
              <a:rPr lang="it-IT" sz="1400" dirty="0"/>
              <a:t>I dipendenti senza scelta riceveranno la somma in denaro (100% del valore medio 5 anni).</a:t>
            </a:r>
          </a:p>
        </p:txBody>
      </p:sp>
    </p:spTree>
    <p:extLst>
      <p:ext uri="{BB962C8B-B14F-4D97-AF65-F5344CB8AC3E}">
        <p14:creationId xmlns:p14="http://schemas.microsoft.com/office/powerpoint/2010/main" val="244532838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ABE9599-D3BF-4F8F-B38D-0EFD9A050F60}"/>
              </a:ext>
            </a:extLst>
          </p:cNvPr>
          <p:cNvSpPr txBox="1"/>
          <p:nvPr/>
        </p:nvSpPr>
        <p:spPr>
          <a:xfrm>
            <a:off x="528320" y="1270000"/>
            <a:ext cx="9044305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 dirty="0"/>
              <a:t>Principio generale (Art. 51 TUIR) Comma 1: reddito di lavoro dipendente include tutte le somme e valori percepiti, anche in natura.</a:t>
            </a:r>
          </a:p>
          <a:p>
            <a:pPr algn="just"/>
            <a:r>
              <a:rPr lang="it-IT" sz="1400" dirty="0"/>
              <a:t>Principio di onnicomprensività: tutti i valori percepiti in relazione al rapporto di lavoro concorrono al reddito imponibile.</a:t>
            </a:r>
          </a:p>
          <a:p>
            <a:pPr algn="just"/>
            <a:r>
              <a:rPr lang="it-IT" sz="1400" dirty="0"/>
              <a:t>Comma 2 e c.3 ultimo periodo: deroghe limitate, solo per specifici benefit sociali, se non finalizzati a retribuzione aggiuntiva.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Prassi e vincoli</a:t>
            </a:r>
          </a:p>
          <a:p>
            <a:pPr algn="just"/>
            <a:r>
              <a:rPr lang="it-IT" sz="1400" dirty="0"/>
              <a:t>Risoluzione n. 55/E/2020: i benefit con finalità retributive non possono essere esentati.</a:t>
            </a:r>
          </a:p>
          <a:p>
            <a:pPr algn="just"/>
            <a:r>
              <a:rPr lang="it-IT" sz="1400" dirty="0"/>
              <a:t>Benefici derivanti da retribuzione fissa/variabile non possono usufruire dell’esenzione se sostituiscono somme altrimenti imponibili (sulla stessa linea Risposta n. 57/2024 sulle somme riconosciute alle lavoratrici madri, equivalenti alla differenza fra l'indennità di congedo di maternità facoltativa o di congedo parentale a carico dell'INPS, e il cento per cento della retribuzione mensile lorda).</a:t>
            </a:r>
            <a:endParaRPr lang="it-IT" sz="1400" dirty="0">
              <a:highlight>
                <a:srgbClr val="FF0000"/>
              </a:highlight>
            </a:endParaRPr>
          </a:p>
          <a:p>
            <a:pPr algn="just"/>
            <a:r>
              <a:rPr lang="it-IT" sz="1400" dirty="0"/>
              <a:t>Comma 184 L.208/2015: detassazione solo per conversione di premi di risultato o utili legati a incrementi di produttività misurabili e verificabili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2229E7-E802-7BEE-0472-97472E569FA2}"/>
              </a:ext>
            </a:extLst>
          </p:cNvPr>
          <p:cNvSpPr txBox="1">
            <a:spLocks/>
          </p:cNvSpPr>
          <p:nvPr/>
        </p:nvSpPr>
        <p:spPr>
          <a:xfrm>
            <a:off x="528320" y="65024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Indennità obsolete → Welfare aziendale (Interpello n. 195/2025)</a:t>
            </a:r>
          </a:p>
        </p:txBody>
      </p:sp>
    </p:spTree>
    <p:extLst>
      <p:ext uri="{BB962C8B-B14F-4D97-AF65-F5344CB8AC3E}">
        <p14:creationId xmlns:p14="http://schemas.microsoft.com/office/powerpoint/2010/main" val="140950469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ABE9599-D3BF-4F8F-B38D-0EFD9A050F60}"/>
              </a:ext>
            </a:extLst>
          </p:cNvPr>
          <p:cNvSpPr txBox="1"/>
          <p:nvPr/>
        </p:nvSpPr>
        <p:spPr>
          <a:xfrm>
            <a:off x="677334" y="1410970"/>
            <a:ext cx="889529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Parere dell’Agenzia delle Entrate</a:t>
            </a:r>
          </a:p>
          <a:p>
            <a:r>
              <a:rPr lang="it-IT" sz="1400" dirty="0"/>
              <a:t>L’erogazione del welfare in sostituzione delle indennità non soddisfa i requisiti dell’art. 51 c.2 e c.3.</a:t>
            </a:r>
          </a:p>
          <a:p>
            <a:r>
              <a:rPr lang="it-IT" sz="1400" dirty="0"/>
              <a:t>La conversione in benefit: rilevante ai fini del reddito di lavoro dipendente.</a:t>
            </a:r>
          </a:p>
          <a:p>
            <a:r>
              <a:rPr lang="it-IT" sz="1400" dirty="0"/>
              <a:t>Determinazione imponibile: valore normale dei beni e servizi erogati.</a:t>
            </a:r>
          </a:p>
          <a:p>
            <a:endParaRPr lang="it-IT" sz="1400" dirty="0"/>
          </a:p>
          <a:p>
            <a:r>
              <a:rPr lang="it-IT" sz="1400" dirty="0"/>
              <a:t>Motivazione: il sistema mira a sostituire voci di retribuzione imponibile, non a garantire accesso a benefit per la generalità dei dipendenti.</a:t>
            </a:r>
          </a:p>
          <a:p>
            <a:endParaRPr lang="it-IT" sz="1400" dirty="0"/>
          </a:p>
          <a:p>
            <a:r>
              <a:rPr lang="it-IT" sz="1400" dirty="0"/>
              <a:t>Conclusione</a:t>
            </a:r>
          </a:p>
          <a:p>
            <a:r>
              <a:rPr lang="it-IT" sz="1400" dirty="0"/>
              <a:t>Le somme relative a indennità obsolete convertite in welfare sono tassabili secondo le ordinarie regole.</a:t>
            </a:r>
          </a:p>
          <a:p>
            <a:r>
              <a:rPr lang="it-IT" sz="1400" dirty="0"/>
              <a:t>Non applicabile l’esenzione prevista dall’art. 51 c.2 e c.3 TUIR.</a:t>
            </a:r>
          </a:p>
          <a:p>
            <a:r>
              <a:rPr lang="it-IT" sz="1400" dirty="0"/>
              <a:t>L’erogazione costituisce reddito imponibile a tutti gli effetti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399F22-BE9A-675A-9B4E-95B31F94D756}"/>
              </a:ext>
            </a:extLst>
          </p:cNvPr>
          <p:cNvSpPr txBox="1">
            <a:spLocks/>
          </p:cNvSpPr>
          <p:nvPr/>
        </p:nvSpPr>
        <p:spPr>
          <a:xfrm>
            <a:off x="677334" y="467360"/>
            <a:ext cx="8596668" cy="61976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it-IT" sz="2400" dirty="0"/>
              <a:t>Indennità obsolete → Welfare aziendale (Interpello n. 195/2025)</a:t>
            </a:r>
          </a:p>
        </p:txBody>
      </p:sp>
    </p:spTree>
    <p:extLst>
      <p:ext uri="{BB962C8B-B14F-4D97-AF65-F5344CB8AC3E}">
        <p14:creationId xmlns:p14="http://schemas.microsoft.com/office/powerpoint/2010/main" val="372654091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quadrani\AppData\Local\Templafy\AddIns\PowerPointVsto\Tax_GlobalCommonStorefront_hero_black_lores_006.png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emplate STP_16-9.pptx" id="{C0F21039-52AE-4F01-834B-65E3F4945594}" vid="{04562821-814D-4FA8-B647-3203FBADB65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TemplateConfiguration><![CDATA[{"elementsMetadata":[],"transformationConfigurations":[],"templateName":"Deloitte Blank","templateDescription":"","enableDocumentContentUpdater":false,"version":"2.0"}]]></Templafy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TemplafySlideTemplateConfiguration><![CDATA[{"slideVersion":1,"isValidatorEnabled":false,"isLocked":false,"elementsMetadata":[],"slideId":"637786907613342931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3EBCD3C2-26E1-4749-B37E-3B38E6A7E58A}">
  <ds:schemaRefs/>
</ds:datastoreItem>
</file>

<file path=customXml/itemProps2.xml><?xml version="1.0" encoding="utf-8"?>
<ds:datastoreItem xmlns:ds="http://schemas.openxmlformats.org/officeDocument/2006/customXml" ds:itemID="{1BA1A0FF-B638-4C21-97C7-AC74F44DF38E}">
  <ds:schemaRefs/>
</ds:datastoreItem>
</file>

<file path=customXml/itemProps3.xml><?xml version="1.0" encoding="utf-8"?>
<ds:datastoreItem xmlns:ds="http://schemas.openxmlformats.org/officeDocument/2006/customXml" ds:itemID="{2EEFFAED-7F85-45FF-AD37-07C952D3EE06}">
  <ds:schemaRefs/>
</ds:datastoreItem>
</file>

<file path=customXml/itemProps4.xml><?xml version="1.0" encoding="utf-8"?>
<ds:datastoreItem xmlns:ds="http://schemas.openxmlformats.org/officeDocument/2006/customXml" ds:itemID="{73613A34-2A66-4D74-917A-E3250995B4FB}">
  <ds:schemaRefs/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4096</TotalTime>
  <Words>1970</Words>
  <Application>Microsoft Office PowerPoint</Application>
  <PresentationFormat>Widescreen</PresentationFormat>
  <Paragraphs>153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ArialMT</vt:lpstr>
      <vt:lpstr>Calibri</vt:lpstr>
      <vt:lpstr>Calibri Light</vt:lpstr>
      <vt:lpstr>Trebuchet MS</vt:lpstr>
      <vt:lpstr>Verdana</vt:lpstr>
      <vt:lpstr>Wingdings</vt:lpstr>
      <vt:lpstr>Wingdings 2</vt:lpstr>
      <vt:lpstr>Wingdings 3</vt:lpstr>
      <vt:lpstr>Facet</vt:lpstr>
      <vt:lpstr>Deloitte Brand Theme</vt:lpstr>
      <vt:lpstr>think-cell Slide</vt:lpstr>
      <vt:lpstr>Unindustria 11 novembre 2025</vt:lpstr>
      <vt:lpstr>Sostituzione di componenti retributive con iniziative di Welfare aziendale Analisi e Implicazioni Fiscali alla luce degli interpelli nn. 77/2025 e 195/2025</vt:lpstr>
      <vt:lpstr>MBO → Welfare aziendale (Interpello n. 77/2025)</vt:lpstr>
      <vt:lpstr>MBO → Welfare aziendale (Interpello n. 77/2025)</vt:lpstr>
      <vt:lpstr>MBO → Welfare aziendale (Interpello n. 77/2025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lusconi, Antonella</dc:creator>
  <cp:lastModifiedBy>Deloitte</cp:lastModifiedBy>
  <cp:revision>68</cp:revision>
  <dcterms:created xsi:type="dcterms:W3CDTF">2022-07-21T16:11:06Z</dcterms:created>
  <dcterms:modified xsi:type="dcterms:W3CDTF">2025-11-11T11:1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1-25T17:14:3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deaa83c7-7f05-4ea9-baec-f31825758f48</vt:lpwstr>
  </property>
  <property fmtid="{D5CDD505-2E9C-101B-9397-08002B2CF9AE}" pid="8" name="MSIP_Label_ea60d57e-af5b-4752-ac57-3e4f28ca11dc_ContentBits">
    <vt:lpwstr>0</vt:lpwstr>
  </property>
  <property fmtid="{D5CDD505-2E9C-101B-9397-08002B2CF9AE}" pid="9" name="TemplafyTimeStamp">
    <vt:lpwstr>2021-12-01T13:38:21</vt:lpwstr>
  </property>
  <property fmtid="{D5CDD505-2E9C-101B-9397-08002B2CF9AE}" pid="10" name="TemplafyTenantId">
    <vt:lpwstr>deloittecm</vt:lpwstr>
  </property>
  <property fmtid="{D5CDD505-2E9C-101B-9397-08002B2CF9AE}" pid="11" name="TemplafyTemplateId">
    <vt:lpwstr>637739627007274728</vt:lpwstr>
  </property>
  <property fmtid="{D5CDD505-2E9C-101B-9397-08002B2CF9AE}" pid="12" name="TemplafyUserProfileId">
    <vt:lpwstr>637829554317015070</vt:lpwstr>
  </property>
  <property fmtid="{D5CDD505-2E9C-101B-9397-08002B2CF9AE}" pid="13" name="TemplafyFromBlank">
    <vt:bool>true</vt:bool>
  </property>
</Properties>
</file>